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19.xml" ContentType="application/vnd.openxmlformats-officedocument.presentationml.tags+xml"/>
  <Override PartName="/ppt/notesSlides/notesSlide13.xml" ContentType="application/vnd.openxmlformats-officedocument.presentationml.notesSlide+xml"/>
  <Override PartName="/ppt/tags/tag120.xml" ContentType="application/vnd.openxmlformats-officedocument.presentationml.tags+xml"/>
  <Override PartName="/ppt/notesSlides/notesSlide14.xml" ContentType="application/vnd.openxmlformats-officedocument.presentationml.notesSlide+xml"/>
  <Override PartName="/ppt/tags/tag121.xml" ContentType="application/vnd.openxmlformats-officedocument.presentationml.tags+xml"/>
  <Override PartName="/ppt/notesSlides/notesSlide15.xml" ContentType="application/vnd.openxmlformats-officedocument.presentationml.notesSlide+xml"/>
  <Override PartName="/ppt/tags/tag122.xml" ContentType="application/vnd.openxmlformats-officedocument.presentationml.tags+xml"/>
  <Override PartName="/ppt/notesSlides/notesSlide16.xml" ContentType="application/vnd.openxmlformats-officedocument.presentationml.notesSlide+xml"/>
  <Override PartName="/ppt/tags/tag123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18" r:id="rId1"/>
    <p:sldMasterId id="2147483722" r:id="rId2"/>
    <p:sldMasterId id="2147483723" r:id="rId3"/>
  </p:sldMasterIdLst>
  <p:notesMasterIdLst>
    <p:notesMasterId r:id="rId21"/>
  </p:notesMasterIdLst>
  <p:sldIdLst>
    <p:sldId id="256" r:id="rId4"/>
    <p:sldId id="257" r:id="rId5"/>
    <p:sldId id="258" r:id="rId6"/>
    <p:sldId id="334" r:id="rId7"/>
    <p:sldId id="261" r:id="rId8"/>
    <p:sldId id="260" r:id="rId9"/>
    <p:sldId id="330" r:id="rId10"/>
    <p:sldId id="331" r:id="rId11"/>
    <p:sldId id="332" r:id="rId12"/>
    <p:sldId id="325" r:id="rId13"/>
    <p:sldId id="322" r:id="rId14"/>
    <p:sldId id="265" r:id="rId15"/>
    <p:sldId id="333" r:id="rId16"/>
    <p:sldId id="326" r:id="rId17"/>
    <p:sldId id="268" r:id="rId18"/>
    <p:sldId id="269" r:id="rId19"/>
    <p:sldId id="335" r:id="rId20"/>
  </p:sldIdLst>
  <p:sldSz cx="9144000" cy="5143500" type="screen16x9"/>
  <p:notesSz cx="6858000" cy="9144000"/>
  <p:custDataLst>
    <p:tags r:id="rId2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nyanid Pipopsukavadee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3F3"/>
    <a:srgbClr val="858585"/>
    <a:srgbClr val="262626"/>
    <a:srgbClr val="7F7F7F"/>
    <a:srgbClr val="CDCD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7143223-556B-4BAE-9583-33E03EAB3CE1}">
  <a:tblStyle styleId="{B7143223-556B-4BAE-9583-33E03EAB3CE1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269" y="6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584867075664622E-2"/>
          <c:y val="8.5950413223140495E-2"/>
          <c:w val="0.9468302658486708"/>
          <c:h val="0.8280991735537189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9D9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3.3057851239669421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11D-4630-92F1-30976F36F3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1.566325674995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1D-4630-92F1-30976F36F312}"/>
            </c:ext>
          </c:extLst>
        </c:ser>
        <c:ser>
          <c:idx val="1"/>
          <c:order val="1"/>
          <c:spPr>
            <a:solidFill>
              <a:srgbClr val="76717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3.3057851239669421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11D-4630-92F1-30976F36F3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73.905752138185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11D-4630-92F1-30976F36F312}"/>
            </c:ext>
          </c:extLst>
        </c:ser>
        <c:ser>
          <c:idx val="2"/>
          <c:order val="2"/>
          <c:spPr>
            <a:solidFill>
              <a:srgbClr val="262626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4.5279221868187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11D-4630-92F1-30976F36F3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89990719"/>
        <c:axId val="1"/>
      </c:barChart>
      <c:catAx>
        <c:axId val="128999071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899907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01010101010101E-2"/>
          <c:y val="4.8689138576779027E-2"/>
          <c:w val="0.95797979797979793"/>
          <c:h val="0.9026217228464419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6262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7FF-4A39-BC0D-BB4B4E098E06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777482</c:v>
                </c:pt>
                <c:pt idx="1">
                  <c:v>12446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FF-4A39-BC0D-BB4B4E098E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34583871"/>
        <c:axId val="1"/>
      </c:barChart>
      <c:catAx>
        <c:axId val="11345838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446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345838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632875414495499E-2"/>
          <c:y val="4.8689138576779027E-2"/>
          <c:w val="0.95073424917100902"/>
          <c:h val="0.90262172284644193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rgbClr val="7F7F7F"/>
              </a:solidFill>
              <a:prstDash val="solid"/>
            </a:ln>
          </c:spPr>
          <c:marker>
            <c:symbol val="none"/>
          </c:marker>
          <c:val>
            <c:numRef>
              <c:f>Sheet1!$A$1:$C$1</c:f>
              <c:numCache>
                <c:formatCode>General</c:formatCode>
                <c:ptCount val="3"/>
                <c:pt idx="0">
                  <c:v>1883545.035555555</c:v>
                </c:pt>
                <c:pt idx="1">
                  <c:v>777481.51555555535</c:v>
                </c:pt>
                <c:pt idx="2">
                  <c:v>224449.755555555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EE2-4949-A9C9-1F2A31A972BA}"/>
            </c:ext>
          </c:extLst>
        </c:ser>
        <c:ser>
          <c:idx val="1"/>
          <c:order val="1"/>
          <c:spPr>
            <a:ln w="19050" algn="ctr">
              <a:solidFill>
                <a:srgbClr val="262626"/>
              </a:solidFill>
              <a:prstDash val="solid"/>
            </a:ln>
          </c:spPr>
          <c:marker>
            <c:symbol val="none"/>
          </c:marker>
          <c:val>
            <c:numRef>
              <c:f>Sheet1!$A$2:$C$2</c:f>
              <c:numCache>
                <c:formatCode>General</c:formatCode>
                <c:ptCount val="3"/>
                <c:pt idx="0">
                  <c:v>1976974.0231111106</c:v>
                </c:pt>
                <c:pt idx="1">
                  <c:v>1244638.7866666669</c:v>
                </c:pt>
                <c:pt idx="2">
                  <c:v>946622.13555555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E2-4949-A9C9-1F2A31A972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67547631"/>
        <c:axId val="1"/>
      </c:lineChart>
      <c:catAx>
        <c:axId val="8675476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867547631"/>
        <c:crosses val="min"/>
        <c:crossBetween val="midCat"/>
        <c:majorUnit val="5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15239532251982E-2"/>
          <c:y val="6.9425901201602136E-2"/>
          <c:w val="0.96076952093549606"/>
          <c:h val="0.861148197596795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7F7F7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F30-4D30-9CD2-FF34CEAE3C8E}"/>
              </c:ext>
            </c:extLst>
          </c:dPt>
          <c:dPt>
            <c:idx val="3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F30-4D30-9CD2-FF34CEAE3C8E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2498207.36</c:v>
                </c:pt>
                <c:pt idx="1">
                  <c:v>1307525.9599999997</c:v>
                </c:pt>
                <c:pt idx="2">
                  <c:v>1307525.9599999997</c:v>
                </c:pt>
                <c:pt idx="3">
                  <c:v>777481.51555555535</c:v>
                </c:pt>
                <c:pt idx="4">
                  <c:v>777481.515555555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30-4D30-9CD2-FF34CEAE3C8E}"/>
            </c:ext>
          </c:extLst>
        </c:ser>
        <c:ser>
          <c:idx val="1"/>
          <c:order val="1"/>
          <c:spPr>
            <a:solidFill>
              <a:srgbClr val="7F7F7F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1">
                  <c:v>1190681.4000000001</c:v>
                </c:pt>
                <c:pt idx="3">
                  <c:v>530044.44444444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30-4D30-9CD2-FF34CEAE3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3264928"/>
        <c:axId val="1"/>
      </c:barChart>
      <c:catAx>
        <c:axId val="3632649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632649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15239532251982E-2"/>
          <c:y val="6.9425901201602136E-2"/>
          <c:w val="0.96076952093549606"/>
          <c:h val="0.861148197596795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62626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553-496F-BE6E-C8BC16E613DC}"/>
              </c:ext>
            </c:extLst>
          </c:dPt>
          <c:dPt>
            <c:idx val="3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553-496F-BE6E-C8BC16E613DC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2215416.7200000002</c:v>
                </c:pt>
                <c:pt idx="1">
                  <c:v>1636372.12</c:v>
                </c:pt>
                <c:pt idx="2">
                  <c:v>1636372.12</c:v>
                </c:pt>
                <c:pt idx="3">
                  <c:v>1244638.7866666669</c:v>
                </c:pt>
                <c:pt idx="4">
                  <c:v>1244638.7866666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53-496F-BE6E-C8BC16E613DC}"/>
            </c:ext>
          </c:extLst>
        </c:ser>
        <c:ser>
          <c:idx val="1"/>
          <c:order val="1"/>
          <c:spPr>
            <a:solidFill>
              <a:srgbClr val="262626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1">
                  <c:v>579044.60000000009</c:v>
                </c:pt>
                <c:pt idx="3">
                  <c:v>391733.33333333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553-496F-BE6E-C8BC16E613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3254112"/>
        <c:axId val="1"/>
      </c:barChart>
      <c:catAx>
        <c:axId val="3632541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632541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Arial" panose="020B0604020202020204" pitchFamily="34" charset="0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xperian.com/blogs/ask-experian/whats-a-good-interest-rate-for-a-personal-loan/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atista.com/chart/22266/bank-loan-loss-provisions/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news.sky.com/story/barclays-sees-profits-slump-30-as-pandemic-bad-loan-provision-hits-4-8bn-12221422" TargetMode="External"/><Relationship Id="rId4" Type="http://schemas.openxmlformats.org/officeDocument/2006/relationships/hyperlink" Target="https://www.investopedia.com/terms/l/loanlossprovision.asp" TargetMode="Externa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ndingtree.com/personal/personal-loans-statistics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ndingtree.com/personal/personal-loans-statistics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vestopedia.com/terms/l/loanlossprovision.asp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news.sky.com/story/barclays-sees-profits-slump-30-as-pandemic-bad-loan-provision-hits-4-8bn-12221422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g103c7d0bb6c_2_9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6" name="Google Shape;336;g103c7d0bb6c_2_9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2612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Google Shape;423;g18f63a77e2f455e_1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24" name="Google Shape;424;g18f63a77e2f455e_1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720572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g103c7d0bb6c_6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42" name="Google Shape;442;g103c7d0bb6c_6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How much we loss for default ( for 3 models)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r>
              <a:rPr lang="en-US"/>
              <a:t>Good : Average Credit size + Interest on Credit *Total Non-Default 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r>
              <a:rPr lang="en-US"/>
              <a:t>Loss : </a:t>
            </a:r>
            <a:r>
              <a:rPr lang="en-US">
                <a:solidFill>
                  <a:schemeClr val="dk1"/>
                </a:solidFill>
              </a:rPr>
              <a:t>Average Credit size + Interest on Credit *Total Default 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r>
              <a:rPr lang="en-US"/>
              <a:t>Profit : Good Credit revenue - Loss from bad credit - Review co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r>
              <a:rPr lang="en-US"/>
              <a:t>Gain (profit we gonna have)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rgbClr val="FFFFFF"/>
                </a:solidFill>
                <a:ea typeface="Calibri"/>
              </a:rPr>
              <a:t>Predict % increase in paying back loan on time (less risk) by identifying target groups </a:t>
            </a:r>
            <a:endParaRPr lang="en-US"/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: graph show (ACCURACY)</a:t>
            </a: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OST analysis </a:t>
            </a: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20% Low ACCEPT </a:t>
            </a: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80% High Reject</a:t>
            </a: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Meduim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hlink"/>
                </a:solidFill>
                <a:hlinkClick r:id="rId3"/>
              </a:rPr>
              <a:t>https://www.experian.com/blogs/ask-experian/whats-a-good-interest-rate-for-a-personal-loan/</a:t>
            </a:r>
            <a:endParaRPr lang="en-US"/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Average interest</a:t>
            </a:r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g103c7d0bb6c_6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g103c7d0bb6c_6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004277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g1062dcf9fad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4" name="Google Shape;464;g1062dcf9fad_0_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www.statista.com/chart/22266/bank-loan-loss-provisions/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www.investopedia.com/terms/l/loanlossprovision.asp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news.sky.com/story/barclays-sees-profits-slump-30-as-pandemic-bad-loan-provision-hits-4-8bn-12221422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646942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g10631690c51_2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79" name="Google Shape;479;g10631690c51_2_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AutoNum type="arabicPeriod"/>
            </a:pPr>
            <a:r>
              <a:rPr lang="en"/>
              <a:t>Experience in marketing,</a:t>
            </a: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Google Shape;488;g105edbe8291_6_10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89" name="Google Shape;489;g105edbe8291_6_10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g103c7d0bb6c_2_4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0" name="Google Shape;1000;g103c7d0bb6c_2_4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27323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g103c7d0bb6c_2_1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4" name="Google Shape;344;g103c7d0bb6c_2_1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g103c7d0bb6c_6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g103c7d0bb6c_6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1062dcf9fad_0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1062dcf9fad_0_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www.lendingtree.com/personal/personal-loans-statistics/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g1062dcf9fad_0_1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5" name="Google Shape;395;g1062dcf9fad_0_1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www.lendingtree.com/personal/personal-loans-statistics/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g105edbe8291_5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4" name="Google Shape;384;g105edbe8291_5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hlink"/>
                </a:solidFill>
                <a:hlinkClick r:id="rId3"/>
              </a:rPr>
              <a:t>https://www.investopedia.com/terms/l/loanlossprovision.asp</a:t>
            </a: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hlink"/>
                </a:solidFill>
                <a:hlinkClick r:id="rId4"/>
              </a:rPr>
              <a:t>https://news.sky.com/story/barclays-sees-profits-slump-30-as-pandemic-bad-loan-provision-hits-4-8bn-12221422</a:t>
            </a: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3548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7199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g103c7d0bb6c_6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g103c7d0bb6c_6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73683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pening slide">
  <p:cSld name="CUSTOM_7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1D67017-9838-44C5-BC3C-DB46E88B60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854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14"/>
          <p:cNvSpPr/>
          <p:nvPr/>
        </p:nvSpPr>
        <p:spPr>
          <a:xfrm>
            <a:off x="5089700" y="-20175"/>
            <a:ext cx="4094650" cy="5190575"/>
          </a:xfrm>
          <a:custGeom>
            <a:avLst/>
            <a:gdLst/>
            <a:ahLst/>
            <a:cxnLst/>
            <a:rect l="l" t="t" r="r" b="b"/>
            <a:pathLst>
              <a:path w="163786" h="207623" extrusionOk="0">
                <a:moveTo>
                  <a:pt x="0" y="0"/>
                </a:moveTo>
                <a:lnTo>
                  <a:pt x="26895" y="207623"/>
                </a:lnTo>
                <a:lnTo>
                  <a:pt x="163786" y="207623"/>
                </a:lnTo>
                <a:lnTo>
                  <a:pt x="163786" y="538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863802" y="1290175"/>
            <a:ext cx="3639600" cy="17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unito Sans ExtraBold"/>
              <a:buNone/>
              <a:defRPr sz="3000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1302" y="2757622"/>
            <a:ext cx="4352100" cy="71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Pontano Sans"/>
              <a:buNone/>
              <a:defRPr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551">
          <p15:clr>
            <a:srgbClr val="FA7B17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0D9F30-4EFC-43D9-B703-D5CE10C58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346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8" name="Google Shape;248;p5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9" name="Google Shape;249;p5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0" name="Google Shape;250;p5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1" name="Google Shape;251;p5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B93501-4A01-4B07-A329-B988CCE98A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189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3" name="Google Shape;253;p5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4" name="Google Shape;254;p5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72684DA-4B1D-4998-901C-1DD391714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076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" name="Google Shape;256;p5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257" name="Google Shape;257;p5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8" name="Google Shape;258;p5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A858657-18D3-429F-A821-22A74398A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310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0" name="Google Shape;260;p5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261" name="Google Shape;261;p5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87E407-E74A-4D8A-AD0D-B35199157E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305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3" name="Google Shape;263;p5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4" name="Google Shape;264;p5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265" name="Google Shape;265;p5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266" name="Google Shape;266;p5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67" name="Google Shape;267;p5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07F145-79D2-45E7-8BD3-B1A37A2BFF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6468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Google Shape;269;p6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270" name="Google Shape;270;p6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1A693CA-FDF6-4D14-8A7E-2A82F182D4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555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Google Shape;272;p6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73" name="Google Shape;273;p6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74" name="Google Shape;274;p6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657EEA-6BA2-4984-AA5C-6E8A60542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035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Google Shape;276;p6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redits">
  <p:cSld name="Credits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493B897-F9BC-4E92-AA71-50D39AAAF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730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Google Shape;139;p27"/>
          <p:cNvSpPr/>
          <p:nvPr/>
        </p:nvSpPr>
        <p:spPr>
          <a:xfrm>
            <a:off x="-64300" y="1073700"/>
            <a:ext cx="9251875" cy="4108375"/>
          </a:xfrm>
          <a:custGeom>
            <a:avLst/>
            <a:gdLst/>
            <a:ahLst/>
            <a:cxnLst/>
            <a:rect l="l" t="t" r="r" b="b"/>
            <a:pathLst>
              <a:path w="370075" h="164335" extrusionOk="0">
                <a:moveTo>
                  <a:pt x="2058" y="32147"/>
                </a:moveTo>
                <a:lnTo>
                  <a:pt x="186709" y="0"/>
                </a:lnTo>
                <a:lnTo>
                  <a:pt x="370075" y="32147"/>
                </a:lnTo>
                <a:lnTo>
                  <a:pt x="370075" y="164335"/>
                </a:lnTo>
                <a:lnTo>
                  <a:pt x="0" y="164335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0" name="Google Shape;140;p27"/>
          <p:cNvSpPr txBox="1">
            <a:spLocks noGrp="1"/>
          </p:cNvSpPr>
          <p:nvPr>
            <p:ph type="body" idx="1"/>
          </p:nvPr>
        </p:nvSpPr>
        <p:spPr>
          <a:xfrm>
            <a:off x="2780100" y="2134800"/>
            <a:ext cx="3583800" cy="14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2pPr>
            <a:lvl3pPr marL="137160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3pPr>
            <a:lvl4pPr marL="182880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4pPr>
            <a:lvl5pPr marL="228600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5pPr>
            <a:lvl6pPr marL="274320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6pPr>
            <a:lvl7pPr marL="320040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7pPr>
            <a:lvl8pPr marL="365760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8pPr>
            <a:lvl9pPr marL="411480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41" name="Google Shape;141;p27"/>
          <p:cNvSpPr txBox="1">
            <a:spLocks noGrp="1"/>
          </p:cNvSpPr>
          <p:nvPr>
            <p:ph type="ctrTitle"/>
          </p:nvPr>
        </p:nvSpPr>
        <p:spPr>
          <a:xfrm>
            <a:off x="3080975" y="405336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845586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296F590-4A38-4A25-B3B7-35D247DF4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645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8" name="Google Shape;288;p6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6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90" name="Google Shape;290;p6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_17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B092AE-2917-4F52-957B-E280DE306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92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Google Shape;58;p15"/>
          <p:cNvSpPr/>
          <p:nvPr/>
        </p:nvSpPr>
        <p:spPr>
          <a:xfrm>
            <a:off x="2999400" y="3305175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Google Shape;59;p15"/>
          <p:cNvSpPr/>
          <p:nvPr/>
        </p:nvSpPr>
        <p:spPr>
          <a:xfrm>
            <a:off x="5611575" y="3305175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Google Shape;60;p15"/>
          <p:cNvSpPr/>
          <p:nvPr/>
        </p:nvSpPr>
        <p:spPr>
          <a:xfrm>
            <a:off x="1690650" y="1925050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Google Shape;61;p15"/>
          <p:cNvSpPr/>
          <p:nvPr/>
        </p:nvSpPr>
        <p:spPr>
          <a:xfrm>
            <a:off x="4312350" y="1925050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Google Shape;62;p15"/>
          <p:cNvSpPr/>
          <p:nvPr/>
        </p:nvSpPr>
        <p:spPr>
          <a:xfrm>
            <a:off x="6980125" y="1925050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3" name="Google Shape;63;p15"/>
          <p:cNvGrpSpPr/>
          <p:nvPr/>
        </p:nvGrpSpPr>
        <p:grpSpPr>
          <a:xfrm>
            <a:off x="-6586" y="-40475"/>
            <a:ext cx="9180576" cy="1384271"/>
            <a:chOff x="0" y="-40481"/>
            <a:chExt cx="9144000" cy="1384271"/>
          </a:xfrm>
        </p:grpSpPr>
        <p:sp>
          <p:nvSpPr>
            <p:cNvPr id="64" name="Google Shape;64;p15"/>
            <p:cNvSpPr/>
            <p:nvPr/>
          </p:nvSpPr>
          <p:spPr>
            <a:xfrm rot="10800000">
              <a:off x="1200" y="799890"/>
              <a:ext cx="9142800" cy="543900"/>
            </a:xfrm>
            <a:prstGeom prst="triangle">
              <a:avLst>
                <a:gd name="adj" fmla="val 50000"/>
              </a:avLst>
            </a:prstGeom>
            <a:solidFill>
              <a:schemeClr val="dk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5" name="Google Shape;65;p15"/>
            <p:cNvSpPr/>
            <p:nvPr/>
          </p:nvSpPr>
          <p:spPr>
            <a:xfrm>
              <a:off x="0" y="-40481"/>
              <a:ext cx="9144000" cy="8562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6" name="Google Shape;66;p15"/>
          <p:cNvSpPr txBox="1">
            <a:spLocks noGrp="1"/>
          </p:cNvSpPr>
          <p:nvPr>
            <p:ph type="subTitle" idx="1"/>
          </p:nvPr>
        </p:nvSpPr>
        <p:spPr>
          <a:xfrm>
            <a:off x="967738" y="267115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7" name="Google Shape;67;p15"/>
          <p:cNvSpPr txBox="1">
            <a:spLocks noGrp="1"/>
          </p:cNvSpPr>
          <p:nvPr>
            <p:ph type="ctrTitle"/>
          </p:nvPr>
        </p:nvSpPr>
        <p:spPr>
          <a:xfrm>
            <a:off x="1152088" y="234055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8" name="Google Shape;68;p15"/>
          <p:cNvSpPr txBox="1">
            <a:spLocks noGrp="1"/>
          </p:cNvSpPr>
          <p:nvPr>
            <p:ph type="subTitle" idx="2"/>
          </p:nvPr>
        </p:nvSpPr>
        <p:spPr>
          <a:xfrm>
            <a:off x="3589500" y="267115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9" name="Google Shape;69;p15"/>
          <p:cNvSpPr txBox="1">
            <a:spLocks noGrp="1"/>
          </p:cNvSpPr>
          <p:nvPr>
            <p:ph type="ctrTitle" idx="3"/>
          </p:nvPr>
        </p:nvSpPr>
        <p:spPr>
          <a:xfrm>
            <a:off x="3773838" y="234055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0" name="Google Shape;70;p15"/>
          <p:cNvSpPr txBox="1">
            <a:spLocks noGrp="1"/>
          </p:cNvSpPr>
          <p:nvPr>
            <p:ph type="subTitle" idx="4"/>
          </p:nvPr>
        </p:nvSpPr>
        <p:spPr>
          <a:xfrm>
            <a:off x="6264526" y="267115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ctrTitle" idx="5"/>
          </p:nvPr>
        </p:nvSpPr>
        <p:spPr>
          <a:xfrm>
            <a:off x="6448876" y="234055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2" name="Google Shape;72;p15"/>
          <p:cNvSpPr txBox="1">
            <a:spLocks noGrp="1"/>
          </p:cNvSpPr>
          <p:nvPr>
            <p:ph type="subTitle" idx="6"/>
          </p:nvPr>
        </p:nvSpPr>
        <p:spPr>
          <a:xfrm>
            <a:off x="2271011" y="403110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ctrTitle" idx="7"/>
          </p:nvPr>
        </p:nvSpPr>
        <p:spPr>
          <a:xfrm>
            <a:off x="2455361" y="370050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subTitle" idx="8"/>
          </p:nvPr>
        </p:nvSpPr>
        <p:spPr>
          <a:xfrm>
            <a:off x="4892774" y="403110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ctrTitle" idx="9"/>
          </p:nvPr>
        </p:nvSpPr>
        <p:spPr>
          <a:xfrm>
            <a:off x="5077124" y="370050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ctrTitle" idx="13"/>
          </p:nvPr>
        </p:nvSpPr>
        <p:spPr>
          <a:xfrm>
            <a:off x="3080975" y="398750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title" idx="14"/>
          </p:nvPr>
        </p:nvSpPr>
        <p:spPr>
          <a:xfrm>
            <a:off x="1575838" y="2012475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title" idx="15"/>
          </p:nvPr>
        </p:nvSpPr>
        <p:spPr>
          <a:xfrm>
            <a:off x="4197618" y="2012475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title" idx="16"/>
          </p:nvPr>
        </p:nvSpPr>
        <p:spPr>
          <a:xfrm>
            <a:off x="6872626" y="2012475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80" name="Google Shape;80;p15"/>
          <p:cNvSpPr txBox="1">
            <a:spLocks noGrp="1"/>
          </p:cNvSpPr>
          <p:nvPr>
            <p:ph type="title" idx="17"/>
          </p:nvPr>
        </p:nvSpPr>
        <p:spPr>
          <a:xfrm>
            <a:off x="2879111" y="3386650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81" name="Google Shape;81;p15"/>
          <p:cNvSpPr txBox="1">
            <a:spLocks noGrp="1"/>
          </p:cNvSpPr>
          <p:nvPr>
            <p:ph type="title" idx="18"/>
          </p:nvPr>
        </p:nvSpPr>
        <p:spPr>
          <a:xfrm>
            <a:off x="5500879" y="3386650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659268-C954-474F-983D-92A92A0110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758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2" name="Google Shape;292;p66"/>
          <p:cNvSpPr txBox="1">
            <a:spLocks noGrp="1"/>
          </p:cNvSpPr>
          <p:nvPr>
            <p:ph type="title"/>
          </p:nvPr>
        </p:nvSpPr>
        <p:spPr>
          <a:xfrm>
            <a:off x="946404" y="274320"/>
            <a:ext cx="72696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93" name="Google Shape;293;p66"/>
          <p:cNvSpPr txBox="1">
            <a:spLocks noGrp="1"/>
          </p:cNvSpPr>
          <p:nvPr>
            <p:ph type="body" idx="1"/>
          </p:nvPr>
        </p:nvSpPr>
        <p:spPr>
          <a:xfrm rot="5400000">
            <a:off x="2538024" y="-219900"/>
            <a:ext cx="3263400" cy="64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98450" algn="l">
              <a:lnSpc>
                <a:spcPct val="95000"/>
              </a:lnSpc>
              <a:spcBef>
                <a:spcPts val="1100"/>
              </a:spcBef>
              <a:spcAft>
                <a:spcPts val="0"/>
              </a:spcAft>
              <a:buSzPts val="11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94" name="Google Shape;294;p66"/>
          <p:cNvSpPr txBox="1">
            <a:spLocks noGrp="1"/>
          </p:cNvSpPr>
          <p:nvPr>
            <p:ph type="dt" idx="10"/>
          </p:nvPr>
        </p:nvSpPr>
        <p:spPr>
          <a:xfrm rot="-5400000">
            <a:off x="8098259" y="748949"/>
            <a:ext cx="1428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GB"/>
          </a:p>
        </p:txBody>
      </p:sp>
      <p:sp>
        <p:nvSpPr>
          <p:cNvPr id="295" name="Google Shape;295;p66"/>
          <p:cNvSpPr txBox="1">
            <a:spLocks noGrp="1"/>
          </p:cNvSpPr>
          <p:nvPr>
            <p:ph type="ftr" idx="11"/>
          </p:nvPr>
        </p:nvSpPr>
        <p:spPr>
          <a:xfrm rot="-5400000">
            <a:off x="7469609" y="3034950"/>
            <a:ext cx="26859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GB"/>
          </a:p>
        </p:txBody>
      </p:sp>
      <p:sp>
        <p:nvSpPr>
          <p:cNvPr id="296" name="Google Shape;296;p66"/>
          <p:cNvSpPr txBox="1">
            <a:spLocks noGrp="1"/>
          </p:cNvSpPr>
          <p:nvPr>
            <p:ph type="sldNum" idx="12"/>
          </p:nvPr>
        </p:nvSpPr>
        <p:spPr>
          <a:xfrm>
            <a:off x="8469630" y="4629150"/>
            <a:ext cx="685800" cy="4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ctr" anchorCtr="0">
            <a:norm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5856C2-89C4-4F34-8E2B-37512BB3EE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920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8" name="Google Shape;298;p67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299" name="Google Shape;299;p67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300" name="Google Shape;300;p6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377F87-988C-49BB-8A6D-A5E53283D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66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" name="Google Shape;302;p68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3" name="Google Shape;303;p6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1E1BE0-9384-4B71-BDA0-6DDDF94DE4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79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5" name="Google Shape;305;p6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6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07" name="Google Shape;307;p69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08" name="Google Shape;308;p6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C24003-2DBE-46CA-A22F-6DE3EA5A9C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71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Google Shape;310;p70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7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D3E644-E386-4749-A105-EB2375FA46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889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3" name="Google Shape;313;p71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4" name="Google Shape;314;p71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5" name="Google Shape;315;p7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D66FB7-7D95-4188-96E7-DFF71DF5A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18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" name="Google Shape;317;p72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18" name="Google Shape;318;p7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A553F3-ACDB-45C9-86C6-D35C48A25F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51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0" name="Google Shape;320;p73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1" name="Google Shape;321;p73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22" name="Google Shape;322;p73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23" name="Google Shape;323;p73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24" name="Google Shape;324;p7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91B60E-7157-45D3-B5B0-379D19A4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6" name="Google Shape;326;p74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327" name="Google Shape;327;p7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F999B9-156B-49AD-91BE-C6175DBC88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502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9" name="Google Shape;329;p75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330" name="Google Shape;330;p75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31" name="Google Shape;331;p7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1">
  <p:cSld name="CUSTOM_18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48B1DB-37CE-4B0D-B9C3-091052A79C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1711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Google Shape;83;p16"/>
          <p:cNvSpPr/>
          <p:nvPr/>
        </p:nvSpPr>
        <p:spPr>
          <a:xfrm>
            <a:off x="-1152650" y="-437650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Google Shape;84;p16"/>
          <p:cNvSpPr/>
          <p:nvPr/>
        </p:nvSpPr>
        <p:spPr>
          <a:xfrm>
            <a:off x="-4362575" y="-437650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Google Shape;85;p16"/>
          <p:cNvSpPr txBox="1">
            <a:spLocks noGrp="1"/>
          </p:cNvSpPr>
          <p:nvPr>
            <p:ph type="ctrTitle"/>
          </p:nvPr>
        </p:nvSpPr>
        <p:spPr>
          <a:xfrm flipH="1">
            <a:off x="1889225" y="2355535"/>
            <a:ext cx="3281400" cy="8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86" name="Google Shape;86;p16"/>
          <p:cNvSpPr txBox="1">
            <a:spLocks noGrp="1"/>
          </p:cNvSpPr>
          <p:nvPr>
            <p:ph type="title" idx="2"/>
          </p:nvPr>
        </p:nvSpPr>
        <p:spPr>
          <a:xfrm flipH="1">
            <a:off x="1889225" y="1753435"/>
            <a:ext cx="2979300" cy="7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Nunito Sans ExtraBold"/>
              <a:buNone/>
              <a:defRPr sz="4800" b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lumns">
  <p:cSld name="CUSTOM_24_1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7CCDCE-5F92-49AF-B2CF-D9ABB07439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454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Google Shape;92;p18"/>
          <p:cNvSpPr txBox="1">
            <a:spLocks noGrp="1"/>
          </p:cNvSpPr>
          <p:nvPr>
            <p:ph type="ctrTitle"/>
          </p:nvPr>
        </p:nvSpPr>
        <p:spPr>
          <a:xfrm>
            <a:off x="3080975" y="405336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endParaRPr/>
          </a:p>
        </p:txBody>
      </p:sp>
      <p:sp>
        <p:nvSpPr>
          <p:cNvPr id="93" name="Google Shape;93;p18"/>
          <p:cNvSpPr txBox="1">
            <a:spLocks noGrp="1"/>
          </p:cNvSpPr>
          <p:nvPr>
            <p:ph type="ctrTitle" idx="2"/>
          </p:nvPr>
        </p:nvSpPr>
        <p:spPr>
          <a:xfrm flipH="1">
            <a:off x="1663075" y="2606298"/>
            <a:ext cx="1037100" cy="3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94" name="Google Shape;94;p18"/>
          <p:cNvSpPr txBox="1">
            <a:spLocks noGrp="1"/>
          </p:cNvSpPr>
          <p:nvPr>
            <p:ph type="subTitle" idx="1"/>
          </p:nvPr>
        </p:nvSpPr>
        <p:spPr>
          <a:xfrm flipH="1">
            <a:off x="1432475" y="2815693"/>
            <a:ext cx="14982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95" name="Google Shape;95;p18"/>
          <p:cNvSpPr txBox="1">
            <a:spLocks noGrp="1"/>
          </p:cNvSpPr>
          <p:nvPr>
            <p:ph type="ctrTitle" idx="3"/>
          </p:nvPr>
        </p:nvSpPr>
        <p:spPr>
          <a:xfrm flipH="1">
            <a:off x="4851150" y="2606423"/>
            <a:ext cx="1037100" cy="3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96" name="Google Shape;96;p18"/>
          <p:cNvSpPr txBox="1">
            <a:spLocks noGrp="1"/>
          </p:cNvSpPr>
          <p:nvPr>
            <p:ph type="subTitle" idx="4"/>
          </p:nvPr>
        </p:nvSpPr>
        <p:spPr>
          <a:xfrm flipH="1">
            <a:off x="4620550" y="2815693"/>
            <a:ext cx="14982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97" name="Google Shape;97;p18"/>
          <p:cNvSpPr txBox="1">
            <a:spLocks noGrp="1"/>
          </p:cNvSpPr>
          <p:nvPr>
            <p:ph type="ctrTitle" idx="5"/>
          </p:nvPr>
        </p:nvSpPr>
        <p:spPr>
          <a:xfrm flipH="1">
            <a:off x="3257125" y="1763240"/>
            <a:ext cx="1037100" cy="3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98" name="Google Shape;98;p18"/>
          <p:cNvSpPr txBox="1">
            <a:spLocks noGrp="1"/>
          </p:cNvSpPr>
          <p:nvPr>
            <p:ph type="subTitle" idx="6"/>
          </p:nvPr>
        </p:nvSpPr>
        <p:spPr>
          <a:xfrm flipH="1">
            <a:off x="3026513" y="1972515"/>
            <a:ext cx="14982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99" name="Google Shape;99;p18"/>
          <p:cNvSpPr txBox="1">
            <a:spLocks noGrp="1"/>
          </p:cNvSpPr>
          <p:nvPr>
            <p:ph type="ctrTitle" idx="7"/>
          </p:nvPr>
        </p:nvSpPr>
        <p:spPr>
          <a:xfrm flipH="1">
            <a:off x="6445175" y="1763240"/>
            <a:ext cx="1037100" cy="3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100" name="Google Shape;100;p18"/>
          <p:cNvSpPr txBox="1">
            <a:spLocks noGrp="1"/>
          </p:cNvSpPr>
          <p:nvPr>
            <p:ph type="subTitle" idx="8"/>
          </p:nvPr>
        </p:nvSpPr>
        <p:spPr>
          <a:xfrm flipH="1">
            <a:off x="6214563" y="1972515"/>
            <a:ext cx="14982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85">
          <p15:clr>
            <a:srgbClr val="FA7B17"/>
          </p15:clr>
        </p15:guide>
        <p15:guide id="2" orient="horz" pos="1460">
          <p15:clr>
            <a:srgbClr val="FA7B17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ubtitle 2">
  <p:cSld name="CUSTOM_15_1_1_1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47272B-1602-4D92-BD29-0537B5DE4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18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" name="Google Shape;107;p20"/>
          <p:cNvGrpSpPr/>
          <p:nvPr/>
        </p:nvGrpSpPr>
        <p:grpSpPr>
          <a:xfrm>
            <a:off x="0" y="-9525"/>
            <a:ext cx="3105188" cy="5210133"/>
            <a:chOff x="0" y="-9525"/>
            <a:chExt cx="3105188" cy="5210133"/>
          </a:xfrm>
        </p:grpSpPr>
        <p:sp>
          <p:nvSpPr>
            <p:cNvPr id="108" name="Google Shape;108;p20"/>
            <p:cNvSpPr/>
            <p:nvPr/>
          </p:nvSpPr>
          <p:spPr>
            <a:xfrm>
              <a:off x="266700" y="-9525"/>
              <a:ext cx="2838488" cy="5210133"/>
            </a:xfrm>
            <a:custGeom>
              <a:avLst/>
              <a:gdLst/>
              <a:ahLst/>
              <a:cxnLst/>
              <a:rect l="l" t="t" r="r" b="b"/>
              <a:pathLst>
                <a:path w="110490" h="204359" extrusionOk="0">
                  <a:moveTo>
                    <a:pt x="1524" y="0"/>
                  </a:moveTo>
                  <a:lnTo>
                    <a:pt x="110490" y="0"/>
                  </a:lnTo>
                  <a:lnTo>
                    <a:pt x="55732" y="204359"/>
                  </a:lnTo>
                  <a:lnTo>
                    <a:pt x="0" y="204359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9" name="Google Shape;109;p20"/>
            <p:cNvSpPr/>
            <p:nvPr/>
          </p:nvSpPr>
          <p:spPr>
            <a:xfrm>
              <a:off x="0" y="-9525"/>
              <a:ext cx="558000" cy="51624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10" name="Google Shape;110;p20"/>
          <p:cNvSpPr txBox="1">
            <a:spLocks noGrp="1"/>
          </p:cNvSpPr>
          <p:nvPr>
            <p:ph type="ctrTitle"/>
          </p:nvPr>
        </p:nvSpPr>
        <p:spPr>
          <a:xfrm>
            <a:off x="610871" y="405336"/>
            <a:ext cx="1737300" cy="9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endParaRPr/>
          </a:p>
        </p:txBody>
      </p:sp>
      <p:sp>
        <p:nvSpPr>
          <p:cNvPr id="111" name="Google Shape;111;p20"/>
          <p:cNvSpPr txBox="1">
            <a:spLocks noGrp="1"/>
          </p:cNvSpPr>
          <p:nvPr>
            <p:ph type="ctrTitle" idx="2"/>
          </p:nvPr>
        </p:nvSpPr>
        <p:spPr>
          <a:xfrm>
            <a:off x="5739302" y="1659506"/>
            <a:ext cx="29001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None/>
              <a:defRPr sz="13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12" name="Google Shape;112;p20"/>
          <p:cNvSpPr txBox="1">
            <a:spLocks noGrp="1"/>
          </p:cNvSpPr>
          <p:nvPr>
            <p:ph type="subTitle" idx="1"/>
          </p:nvPr>
        </p:nvSpPr>
        <p:spPr>
          <a:xfrm>
            <a:off x="5739302" y="2513494"/>
            <a:ext cx="25050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843C70-D954-40FE-9E8C-65A666B7D1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001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97B5FA-0921-464F-AAE1-844C04324D75}" type="datetimeFigureOut">
              <a:rPr lang="zh-CN" altLang="en-US" smtClean="0"/>
              <a:pPr/>
              <a:t>2021/12/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65CE74E-AB26-4998-AD42-012C4C1AD0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28096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E677E90-1CAF-4C01-8AE1-6ABCB1F6EB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184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7" name="Google Shape;237;p5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238" name="Google Shape;238;p5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239" name="Google Shape;239;p5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739D09-297F-433E-9A0C-498FC5615A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490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1" name="Google Shape;241;p5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242" name="Google Shape;242;p5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811D5A-33F4-49D5-B361-7B0D9FFF04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816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4" name="Google Shape;244;p5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5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46" name="Google Shape;246;p5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vmlDrawing" Target="../drawings/vmlDrawing8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vmlDrawing" Target="../drawings/vmlDrawing21.v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21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625B99-C7F3-4B03-A70B-952D3252ED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7403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●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○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■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●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○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■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●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○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200"/>
              <a:buFont typeface="Assistant Light"/>
              <a:buChar char="■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3" r:id="rId4"/>
    <p:sldLayoutId id="2147483665" r:id="rId5"/>
    <p:sldLayoutId id="2147483724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454">
          <p15:clr>
            <a:srgbClr val="EA4335"/>
          </p15:clr>
        </p15:guide>
        <p15:guide id="2" orient="horz" pos="340">
          <p15:clr>
            <a:srgbClr val="EA4335"/>
          </p15:clr>
        </p15:guide>
        <p15:guide id="3" pos="5306">
          <p15:clr>
            <a:srgbClr val="EA4335"/>
          </p15:clr>
        </p15:guide>
        <p15:guide id="4" orient="horz" pos="2900">
          <p15:clr>
            <a:srgbClr val="EA4335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5029CAE-1DCE-4EC0-9494-EDE89AB6FF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11096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think-cell Slide" r:id="rId16" imgW="425" imgH="426" progId="TCLayout.ActiveDocument.1">
                  <p:embed/>
                </p:oleObj>
              </mc:Choice>
              <mc:Fallback>
                <p:oleObj name="think-cell Slide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3" name="Google Shape;233;p5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34" name="Google Shape;234;p5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35" name="Google Shape;235;p5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10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buNone/>
              <a:defRPr sz="1000">
                <a:solidFill>
                  <a:schemeClr val="dk2"/>
                </a:solidFill>
              </a:defRPr>
            </a:lvl2pPr>
            <a:lvl3pPr lvl="2" algn="r" rtl="0">
              <a:buNone/>
              <a:defRPr sz="1000">
                <a:solidFill>
                  <a:schemeClr val="dk2"/>
                </a:solidFill>
              </a:defRPr>
            </a:lvl3pPr>
            <a:lvl4pPr lvl="3" algn="r" rtl="0">
              <a:buNone/>
              <a:defRPr sz="1000">
                <a:solidFill>
                  <a:schemeClr val="dk2"/>
                </a:solidFill>
              </a:defRPr>
            </a:lvl4pPr>
            <a:lvl5pPr lvl="4" algn="r" rtl="0">
              <a:buNone/>
              <a:defRPr sz="1000">
                <a:solidFill>
                  <a:schemeClr val="dk2"/>
                </a:solidFill>
              </a:defRPr>
            </a:lvl5pPr>
            <a:lvl6pPr lvl="5" algn="r" rtl="0">
              <a:buNone/>
              <a:defRPr sz="1000">
                <a:solidFill>
                  <a:schemeClr val="dk2"/>
                </a:solidFill>
              </a:defRPr>
            </a:lvl6pPr>
            <a:lvl7pPr lvl="6" algn="r" rtl="0">
              <a:buNone/>
              <a:defRPr sz="1000">
                <a:solidFill>
                  <a:schemeClr val="dk2"/>
                </a:solidFill>
              </a:defRPr>
            </a:lvl7pPr>
            <a:lvl8pPr lvl="7" algn="r" rtl="0">
              <a:buNone/>
              <a:defRPr sz="1000">
                <a:solidFill>
                  <a:schemeClr val="dk2"/>
                </a:solidFill>
              </a:defRPr>
            </a:lvl8pPr>
            <a:lvl9pPr lvl="8" algn="r" rtl="0">
              <a:buNone/>
              <a:defRPr sz="1000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25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7DA858-5C88-40F8-852B-0259388D7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9870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4" name="Google Shape;284;p6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5" name="Google Shape;285;p6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6" name="Google Shape;286;p6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sv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34" Type="http://schemas.openxmlformats.org/officeDocument/2006/relationships/image" Target="../media/image5.png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image" Target="../media/image2.png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42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image" Target="../media/image13.png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oleObject" Target="../embeddings/oleObject42.bin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image" Target="../media/image12.png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notesSlide" Target="../notesSlides/notesSlide10.xml"/><Relationship Id="rId30" Type="http://schemas.openxmlformats.org/officeDocument/2006/relationships/chart" Target="../charts/chart1.xml"/><Relationship Id="rId35" Type="http://schemas.openxmlformats.org/officeDocument/2006/relationships/image" Target="../media/image6.svg"/><Relationship Id="rId8" Type="http://schemas.openxmlformats.org/officeDocument/2006/relationships/tags" Target="../tags/tag49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slideLayout" Target="../slideLayouts/slideLayout4.xml"/><Relationship Id="rId3" Type="http://schemas.openxmlformats.org/officeDocument/2006/relationships/tags" Target="../tags/tag68.xml"/><Relationship Id="rId21" Type="http://schemas.openxmlformats.org/officeDocument/2006/relationships/tags" Target="../tags/tag86.xml"/><Relationship Id="rId34" Type="http://schemas.openxmlformats.org/officeDocument/2006/relationships/image" Target="../media/image2.png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chart" Target="../charts/chart3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43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chart" Target="../charts/chart2.xml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oleObject" Target="../embeddings/oleObject43.bin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image" Target="../media/image6.svg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notesSlide" Target="../notesSlides/notesSlide11.xml"/><Relationship Id="rId30" Type="http://schemas.openxmlformats.org/officeDocument/2006/relationships/image" Target="../media/image5.png"/><Relationship Id="rId8" Type="http://schemas.openxmlformats.org/officeDocument/2006/relationships/tags" Target="../tags/tag73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26" Type="http://schemas.openxmlformats.org/officeDocument/2006/relationships/tags" Target="../tags/tag115.xml"/><Relationship Id="rId39" Type="http://schemas.openxmlformats.org/officeDocument/2006/relationships/hyperlink" Target="https://www.indeed.com/jobs?q=loan%20processor%20per%20day%20-junior&amp;start=10&amp;vjk=a46301731a829f55" TargetMode="External"/><Relationship Id="rId21" Type="http://schemas.openxmlformats.org/officeDocument/2006/relationships/tags" Target="../tags/tag110.xml"/><Relationship Id="rId34" Type="http://schemas.openxmlformats.org/officeDocument/2006/relationships/chart" Target="../charts/chart4.xml"/><Relationship Id="rId42" Type="http://schemas.openxmlformats.org/officeDocument/2006/relationships/image" Target="../media/image6.svg"/><Relationship Id="rId7" Type="http://schemas.openxmlformats.org/officeDocument/2006/relationships/tags" Target="../tags/tag96.xml"/><Relationship Id="rId2" Type="http://schemas.openxmlformats.org/officeDocument/2006/relationships/tags" Target="../tags/tag91.xml"/><Relationship Id="rId16" Type="http://schemas.openxmlformats.org/officeDocument/2006/relationships/tags" Target="../tags/tag105.xml"/><Relationship Id="rId20" Type="http://schemas.openxmlformats.org/officeDocument/2006/relationships/tags" Target="../tags/tag109.xml"/><Relationship Id="rId29" Type="http://schemas.openxmlformats.org/officeDocument/2006/relationships/tags" Target="../tags/tag118.xml"/><Relationship Id="rId41" Type="http://schemas.openxmlformats.org/officeDocument/2006/relationships/image" Target="../media/image5.png"/><Relationship Id="rId1" Type="http://schemas.openxmlformats.org/officeDocument/2006/relationships/vmlDrawing" Target="../drawings/vmlDrawing44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24" Type="http://schemas.openxmlformats.org/officeDocument/2006/relationships/tags" Target="../tags/tag113.xml"/><Relationship Id="rId32" Type="http://schemas.openxmlformats.org/officeDocument/2006/relationships/oleObject" Target="../embeddings/oleObject44.bin"/><Relationship Id="rId37" Type="http://schemas.openxmlformats.org/officeDocument/2006/relationships/hyperlink" Target="https://www.valuepenguin.com/personal-loans/average-personal-loan-interest-rates" TargetMode="External"/><Relationship Id="rId40" Type="http://schemas.openxmlformats.org/officeDocument/2006/relationships/image" Target="../media/image2.png"/><Relationship Id="rId5" Type="http://schemas.openxmlformats.org/officeDocument/2006/relationships/tags" Target="../tags/tag94.xml"/><Relationship Id="rId15" Type="http://schemas.openxmlformats.org/officeDocument/2006/relationships/tags" Target="../tags/tag104.xml"/><Relationship Id="rId23" Type="http://schemas.openxmlformats.org/officeDocument/2006/relationships/tags" Target="../tags/tag112.xml"/><Relationship Id="rId28" Type="http://schemas.openxmlformats.org/officeDocument/2006/relationships/tags" Target="../tags/tag117.xml"/><Relationship Id="rId36" Type="http://schemas.openxmlformats.org/officeDocument/2006/relationships/hyperlink" Target="https://www.lendingtree.com/personal/personal-loans-statistics/" TargetMode="External"/><Relationship Id="rId10" Type="http://schemas.openxmlformats.org/officeDocument/2006/relationships/tags" Target="../tags/tag99.xml"/><Relationship Id="rId19" Type="http://schemas.openxmlformats.org/officeDocument/2006/relationships/tags" Target="../tags/tag108.xml"/><Relationship Id="rId31" Type="http://schemas.openxmlformats.org/officeDocument/2006/relationships/notesSlide" Target="../notesSlides/notesSlide12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Relationship Id="rId22" Type="http://schemas.openxmlformats.org/officeDocument/2006/relationships/tags" Target="../tags/tag111.xml"/><Relationship Id="rId27" Type="http://schemas.openxmlformats.org/officeDocument/2006/relationships/tags" Target="../tags/tag116.xml"/><Relationship Id="rId30" Type="http://schemas.openxmlformats.org/officeDocument/2006/relationships/slideLayout" Target="../slideLayouts/slideLayout4.xml"/><Relationship Id="rId35" Type="http://schemas.openxmlformats.org/officeDocument/2006/relationships/chart" Target="../charts/chart5.xml"/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tags" Target="../tags/tag114.xml"/><Relationship Id="rId33" Type="http://schemas.openxmlformats.org/officeDocument/2006/relationships/image" Target="../media/image1.emf"/><Relationship Id="rId38" Type="http://schemas.openxmlformats.org/officeDocument/2006/relationships/hyperlink" Target="https://www.glassdoor.co.uk/Salaries/us-loan-processor-salary-SRCH_IL.0,2_IN1_KO3,17.htm?clickSource=searchBtn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6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6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6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4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6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laticon.com/" TargetMode="External"/><Relationship Id="rId3" Type="http://schemas.openxmlformats.org/officeDocument/2006/relationships/slideLayout" Target="../slideLayouts/slideLayout18.xml"/><Relationship Id="rId7" Type="http://schemas.openxmlformats.org/officeDocument/2006/relationships/hyperlink" Target="http://slidesgo.com/" TargetMode="External"/><Relationship Id="rId2" Type="http://schemas.openxmlformats.org/officeDocument/2006/relationships/tags" Target="../tags/tag12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16.sv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atista.com/chart/19955/household-debt-balance-in-the-united-states/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6.sv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www.lendingtree.com/personal/personal-loans-statistics/" TargetMode="Externa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image" Target="../media/image6.svg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atista.com/chart/22266/bank-loan-loss-provisions/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e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11" Type="http://schemas.openxmlformats.org/officeDocument/2006/relationships/image" Target="../media/image6.sv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1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D35910-22C7-4986-B75A-21ECFC3A1C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76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9" name="Google Shape;339;p77"/>
          <p:cNvSpPr txBox="1">
            <a:spLocks noGrp="1"/>
          </p:cNvSpPr>
          <p:nvPr>
            <p:ph type="ctrTitle"/>
          </p:nvPr>
        </p:nvSpPr>
        <p:spPr>
          <a:xfrm>
            <a:off x="199800" y="1030150"/>
            <a:ext cx="8744400" cy="30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dirty="0">
                <a:solidFill>
                  <a:srgbClr val="FFFFFF"/>
                </a:solidFill>
                <a:ea typeface="Arial"/>
              </a:rPr>
              <a:t>Universal </a:t>
            </a:r>
            <a:r>
              <a:rPr lang="hu-HU" sz="4400" dirty="0">
                <a:solidFill>
                  <a:srgbClr val="FFFFFF"/>
                </a:solidFill>
                <a:ea typeface="Arial"/>
              </a:rPr>
              <a:t>Plus </a:t>
            </a:r>
            <a:br>
              <a:rPr lang="hu-HU" sz="4400" dirty="0">
                <a:solidFill>
                  <a:srgbClr val="FFFFFF"/>
                </a:solidFill>
                <a:ea typeface="Arial"/>
              </a:rPr>
            </a:br>
            <a:r>
              <a:rPr lang="hu-HU" sz="4400" dirty="0">
                <a:solidFill>
                  <a:srgbClr val="FFFFFF"/>
                </a:solidFill>
                <a:ea typeface="Arial"/>
              </a:rPr>
              <a:t>C</a:t>
            </a:r>
            <a:r>
              <a:rPr lang="en-US" sz="4400" dirty="0" err="1">
                <a:solidFill>
                  <a:srgbClr val="FFFFFF"/>
                </a:solidFill>
                <a:ea typeface="Arial"/>
              </a:rPr>
              <a:t>redit</a:t>
            </a:r>
            <a:r>
              <a:rPr lang="hu-HU" sz="4400" dirty="0">
                <a:solidFill>
                  <a:srgbClr val="FFFFFF"/>
                </a:solidFill>
                <a:ea typeface="Arial"/>
              </a:rPr>
              <a:t> </a:t>
            </a:r>
            <a:r>
              <a:rPr lang="en-US" sz="4400" dirty="0">
                <a:solidFill>
                  <a:srgbClr val="FFFFFF"/>
                </a:solidFill>
                <a:ea typeface="Arial"/>
              </a:rPr>
              <a:t>Risk Management </a:t>
            </a:r>
            <a:br>
              <a:rPr lang="en-US" sz="4400" dirty="0">
                <a:solidFill>
                  <a:srgbClr val="FFFFFF"/>
                </a:solidFill>
                <a:ea typeface="Arial"/>
              </a:rPr>
            </a:br>
            <a:r>
              <a:rPr lang="en-US" sz="4400" dirty="0">
                <a:solidFill>
                  <a:srgbClr val="FFFFFF"/>
                </a:solidFill>
                <a:ea typeface="Arial"/>
              </a:rPr>
              <a:t>System Proposal </a:t>
            </a:r>
          </a:p>
        </p:txBody>
      </p:sp>
      <p:sp>
        <p:nvSpPr>
          <p:cNvPr id="340" name="Google Shape;340;p77"/>
          <p:cNvSpPr/>
          <p:nvPr/>
        </p:nvSpPr>
        <p:spPr>
          <a:xfrm flipH="1">
            <a:off x="5910667" y="0"/>
            <a:ext cx="3233333" cy="1370935"/>
          </a:xfrm>
          <a:custGeom>
            <a:avLst/>
            <a:gdLst/>
            <a:ahLst/>
            <a:cxnLst/>
            <a:rect l="l" t="t" r="r" b="b"/>
            <a:pathLst>
              <a:path w="34367" h="14275" extrusionOk="0">
                <a:moveTo>
                  <a:pt x="34342" y="1"/>
                </a:moveTo>
                <a:lnTo>
                  <a:pt x="13605" y="14227"/>
                </a:lnTo>
                <a:lnTo>
                  <a:pt x="13" y="10191"/>
                </a:lnTo>
                <a:lnTo>
                  <a:pt x="0" y="10231"/>
                </a:lnTo>
                <a:lnTo>
                  <a:pt x="13602" y="14272"/>
                </a:lnTo>
                <a:lnTo>
                  <a:pt x="13612" y="14275"/>
                </a:lnTo>
                <a:lnTo>
                  <a:pt x="34367" y="36"/>
                </a:lnTo>
                <a:lnTo>
                  <a:pt x="34342" y="1"/>
                </a:lnTo>
                <a:close/>
              </a:path>
            </a:pathLst>
          </a:custGeom>
          <a:solidFill>
            <a:srgbClr val="D9D9D9"/>
          </a:solidFill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41" name="Google Shape;341;p77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DB7EE2F-BA5A-40E0-9F13-64F5BCCE830C}"/>
              </a:ext>
            </a:extLst>
          </p:cNvPr>
          <p:cNvSpPr txBox="1"/>
          <p:nvPr/>
        </p:nvSpPr>
        <p:spPr>
          <a:xfrm>
            <a:off x="6927261" y="119614"/>
            <a:ext cx="142110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VE SIGNETS CONSULTING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63ADFB5-4930-406D-AFB7-EB4C0A8E0821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E0BE5E0-917F-456D-817B-89E1519CCCAE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Graphic 9" descr="Video camera with solid fill">
              <a:extLst>
                <a:ext uri="{FF2B5EF4-FFF2-40B4-BE49-F238E27FC236}">
                  <a16:creationId xmlns:a16="http://schemas.microsoft.com/office/drawing/2014/main" id="{55718055-97B5-42FF-87F1-0E183F09CC9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5A11B30-2D75-495E-95EB-0B4C7889B0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00378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5A11B30-2D75-495E-95EB-0B4C7889B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id="{32FA1731-610B-4F8B-B00C-B3F70A7BCD6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874480"/>
              </p:ext>
            </p:extLst>
          </p:nvPr>
        </p:nvGraphicFramePr>
        <p:xfrm>
          <a:off x="5173663" y="3038475"/>
          <a:ext cx="3105150" cy="960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2CA2E6C-7C14-44F3-A4EA-6979A574C2CE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7986713" y="3767138"/>
            <a:ext cx="142875" cy="95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4" name="文本占位符 2">
            <a:extLst>
              <a:ext uri="{FF2B5EF4-FFF2-40B4-BE49-F238E27FC236}">
                <a16:creationId xmlns:a16="http://schemas.microsoft.com/office/drawing/2014/main" id="{FBE12903-47D2-4C8F-A1D9-ABEA9B7D0CC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351463" y="3862388"/>
            <a:ext cx="4445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D3F24A-405B-4CD6-A8A4-A91422246640}" type="datetime'H''''''''''''''''''''igh'''''''''''''''' ''''''r''''is''k'''">
              <a:rPr lang="en-US" altLang="en-US" sz="9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igh risk</a:t>
            </a:fld>
            <a:endParaRPr lang="en-US" altLang="zh-CN" sz="9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" name="文本占位符 2">
            <a:extLst>
              <a:ext uri="{FF2B5EF4-FFF2-40B4-BE49-F238E27FC236}">
                <a16:creationId xmlns:a16="http://schemas.microsoft.com/office/drawing/2014/main" id="{9665FED1-EA6A-459F-A556-903C7354588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983538" y="3455988"/>
            <a:ext cx="292100" cy="123825"/>
          </a:xfrm>
          <a:prstGeom prst="rect">
            <a:avLst/>
          </a:prstGeom>
          <a:solidFill>
            <a:srgbClr val="262626"/>
          </a:solidFill>
          <a:ln>
            <a:noFill/>
          </a:ln>
          <a:effectLst/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3176ED-88EF-4204-B512-31C5DEE3B517}" type="datetime'''''''''''''''''4.''''''''''''''''''''''5%'''''''''''">
              <a:rPr lang="en-US" altLang="en-US" sz="9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5%</a:t>
            </a:fld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6" name="文本占位符 2">
            <a:extLst>
              <a:ext uri="{FF2B5EF4-FFF2-40B4-BE49-F238E27FC236}">
                <a16:creationId xmlns:a16="http://schemas.microsoft.com/office/drawing/2014/main" id="{762937EB-F433-4921-A604-D1109997EA4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669088" y="3862388"/>
            <a:ext cx="615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C4C9F0-1960-4CBE-8A0D-ECCBE19389C3}" type="datetime'Me''''''''di''u''''''''''''m r''is''''''''''''''''k'''''">
              <a:rPr lang="en-US" altLang="en-US" sz="9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edium risk</a:t>
            </a:fld>
            <a:endParaRPr lang="en-US" altLang="zh-CN" sz="9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7" name="文本占位符 2">
            <a:extLst>
              <a:ext uri="{FF2B5EF4-FFF2-40B4-BE49-F238E27FC236}">
                <a16:creationId xmlns:a16="http://schemas.microsoft.com/office/drawing/2014/main" id="{3CE7B150-9E2F-4451-BB7B-9E4AF8131A2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777163" y="3862388"/>
            <a:ext cx="4191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51EBBB-18EA-47D8-900F-5B0118F58CC8}" type="datetime'''''''''L''''o''''''''''''w'''''''''' ''r''''i''''''''s''k'''">
              <a:rPr lang="en-US" altLang="en-US" sz="9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ow risk</a:t>
            </a:fld>
            <a:endParaRPr lang="en-US" altLang="zh-CN" sz="9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BE4C42CA-3135-4FEA-A4FD-FFB29DC3034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024813" y="1212850"/>
            <a:ext cx="131763" cy="930275"/>
          </a:xfrm>
          <a:prstGeom prst="rect">
            <a:avLst/>
          </a:prstGeom>
          <a:solidFill>
            <a:srgbClr val="26262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9DEC6154-38C3-435E-AB91-E866557A4A4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024813" y="1200150"/>
            <a:ext cx="131763" cy="12700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1085" name="Rectangle 1084">
            <a:extLst>
              <a:ext uri="{FF2B5EF4-FFF2-40B4-BE49-F238E27FC236}">
                <a16:creationId xmlns:a16="http://schemas.microsoft.com/office/drawing/2014/main" id="{153D588C-E8BD-4B5C-8731-7DECD601BA4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881688" y="1328738"/>
            <a:ext cx="2143125" cy="814388"/>
          </a:xfrm>
          <a:prstGeom prst="rect">
            <a:avLst/>
          </a:prstGeom>
          <a:solidFill>
            <a:srgbClr val="26262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85D34034-C32F-44CB-AADF-C38FDC98D6A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881688" y="1200150"/>
            <a:ext cx="2143125" cy="128588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1087" name="Rectangle 1086">
            <a:extLst>
              <a:ext uri="{FF2B5EF4-FFF2-40B4-BE49-F238E27FC236}">
                <a16:creationId xmlns:a16="http://schemas.microsoft.com/office/drawing/2014/main" id="{672CCD99-0DCC-4C80-88FA-780CB2751CC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256213" y="1706563"/>
            <a:ext cx="625475" cy="436563"/>
          </a:xfrm>
          <a:prstGeom prst="rect">
            <a:avLst/>
          </a:prstGeom>
          <a:solidFill>
            <a:srgbClr val="26262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DCA7D1B-ED9A-4374-90F0-B84E9BEDF46D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256213" y="1200150"/>
            <a:ext cx="625475" cy="506413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cxnSp>
        <p:nvCxnSpPr>
          <p:cNvPr id="1025" name="Straight Connector 1024">
            <a:extLst>
              <a:ext uri="{FF2B5EF4-FFF2-40B4-BE49-F238E27FC236}">
                <a16:creationId xmlns:a16="http://schemas.microsoft.com/office/drawing/2014/main" id="{CDDE90C5-6FB7-492B-B3C0-2AEBACA70412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5251450" y="2143125"/>
            <a:ext cx="29098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09E62672-F452-4ADD-A3EB-444DAE5D4368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H="1" flipV="1">
            <a:off x="8139113" y="1206500"/>
            <a:ext cx="31750" cy="555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76158179-DD17-4944-B6EB-D7E85A636BF8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8139113" y="1677988"/>
            <a:ext cx="317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3" name="文本占位符 2">
            <a:extLst>
              <a:ext uri="{FF2B5EF4-FFF2-40B4-BE49-F238E27FC236}">
                <a16:creationId xmlns:a16="http://schemas.microsoft.com/office/drawing/2014/main" id="{570654A6-A279-4E5C-90B5-A67CABD256B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391150" y="1390650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97628A-1AAC-406B-8E34-AAA5FECB98D2}" type="datetime'''''5''''''''3''.''''''''''''''''''''''8''''''''%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8%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0" name="文本占位符 2">
            <a:extLst>
              <a:ext uri="{FF2B5EF4-FFF2-40B4-BE49-F238E27FC236}">
                <a16:creationId xmlns:a16="http://schemas.microsoft.com/office/drawing/2014/main" id="{A08E8305-EB94-4108-A0B5-D1BDB1852F0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775450" y="1201738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1DF6FC-C731-4112-8211-14280E73E8A6}" type="datetime'''''''13''.''''''8%''''''''''''''''''''''''''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8%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5" name="文本占位符 2">
            <a:extLst>
              <a:ext uri="{FF2B5EF4-FFF2-40B4-BE49-F238E27FC236}">
                <a16:creationId xmlns:a16="http://schemas.microsoft.com/office/drawing/2014/main" id="{3009D464-7251-42D5-AB62-543DFE197EB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391150" y="1862138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80F5D0-EC9E-4328-957A-A1267F960C3A}" type="datetime'''''''''''''46''''''''''''''''''''''''''.''2''''%'''''">
              <a:rPr lang="en-US" alt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2%</a:t>
            </a:fld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9" name="文本占位符 2">
            <a:extLst>
              <a:ext uri="{FF2B5EF4-FFF2-40B4-BE49-F238E27FC236}">
                <a16:creationId xmlns:a16="http://schemas.microsoft.com/office/drawing/2014/main" id="{5A7E7F05-E2E1-42BE-A567-52952CD081B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775450" y="1673225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2642C1-028C-4D0F-8A43-11017FE9C51A}" type="datetime'''''8''''''''''6''''''''''''''''.''''''''2%'''''''''''">
              <a:rPr lang="en-US" alt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2%</a:t>
            </a:fld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4575C159-193C-47B4-9E45-02E1542050B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170863" y="1200150"/>
            <a:ext cx="2921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AEF4C0-56BB-4376-A213-D3F12DE7C18A}" type="datetime'''''''''1''''''''''''.''''''''''5%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2" name="文本占位符 2">
            <a:extLst>
              <a:ext uri="{FF2B5EF4-FFF2-40B4-BE49-F238E27FC236}">
                <a16:creationId xmlns:a16="http://schemas.microsoft.com/office/drawing/2014/main" id="{A6ACB2B7-95D7-444A-96A2-5F5EDC1E32F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170863" y="1616075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A7FB39-61CA-4DB6-9AC5-CE9E83EA6BFE}" type="datetime'''9''''''''''''8''''.''''''''''''''''''''''''''''''5''%''''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8.5%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0" name="文本占位符 2">
            <a:extLst>
              <a:ext uri="{FF2B5EF4-FFF2-40B4-BE49-F238E27FC236}">
                <a16:creationId xmlns:a16="http://schemas.microsoft.com/office/drawing/2014/main" id="{6C1AD44A-F507-46F0-9817-F6EC29F3749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772025" y="1390650"/>
            <a:ext cx="361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573988-32CC-480A-9334-632B878A3E7D}" type="datetime'''D''''''ef''au''''''''''''''''''''''''''l''''''''''''t''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efault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1" name="文本占位符 2">
            <a:extLst>
              <a:ext uri="{FF2B5EF4-FFF2-40B4-BE49-F238E27FC236}">
                <a16:creationId xmlns:a16="http://schemas.microsoft.com/office/drawing/2014/main" id="{369EA60E-9914-4207-AD2D-60327F4168D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613275" y="1862138"/>
            <a:ext cx="520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E413849-2ED4-4E3A-9440-C040C20BC1AB}" type="datetime'''''No'''''''' ''''''d''''''ef''a''u''''''''lt'''''">
              <a:rPr lang="en-US" altLang="en-US" sz="90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 default</a:t>
            </a:fld>
            <a:endParaRPr lang="en-US" altLang="zh-CN" sz="900" dirty="0">
              <a:sym typeface="Arial" panose="020B0604020202020204" pitchFamily="34" charset="0"/>
            </a:endParaRPr>
          </a:p>
        </p:txBody>
      </p:sp>
      <p:sp>
        <p:nvSpPr>
          <p:cNvPr id="12" name="Right Brace 11"/>
          <p:cNvSpPr/>
          <p:nvPr/>
        </p:nvSpPr>
        <p:spPr>
          <a:xfrm rot="16200000">
            <a:off x="5527267" y="2939551"/>
            <a:ext cx="100011" cy="546867"/>
          </a:xfrm>
          <a:prstGeom prst="rightBrace">
            <a:avLst/>
          </a:prstGeom>
          <a:ln w="2857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altLang="zh-CN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Right Brace 41"/>
          <p:cNvSpPr/>
          <p:nvPr/>
        </p:nvSpPr>
        <p:spPr>
          <a:xfrm rot="16200000">
            <a:off x="6926863" y="2197250"/>
            <a:ext cx="100011" cy="2031470"/>
          </a:xfrm>
          <a:prstGeom prst="rightBrace">
            <a:avLst/>
          </a:prstGeom>
          <a:ln w="2857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altLang="zh-CN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ight Brace 43"/>
          <p:cNvSpPr/>
          <p:nvPr/>
        </p:nvSpPr>
        <p:spPr>
          <a:xfrm rot="16200000">
            <a:off x="8074991" y="3135367"/>
            <a:ext cx="100010" cy="155234"/>
          </a:xfrm>
          <a:prstGeom prst="rightBrace">
            <a:avLst/>
          </a:prstGeom>
          <a:ln w="28575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altLang="zh-CN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Arrow: Right 59"/>
          <p:cNvSpPr/>
          <p:nvPr/>
        </p:nvSpPr>
        <p:spPr bwMode="invGray">
          <a:xfrm flipV="1">
            <a:off x="4404371" y="3161575"/>
            <a:ext cx="395288" cy="626489"/>
          </a:xfrm>
          <a:prstGeom prst="rightArrow">
            <a:avLst>
              <a:gd name="adj1" fmla="val 50000"/>
              <a:gd name="adj2" fmla="val 58761"/>
            </a:avLst>
          </a:prstGeom>
          <a:solidFill>
            <a:schemeClr val="bg1">
              <a:lumMod val="75000"/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1050" dirty="0">
              <a:solidFill>
                <a:srgbClr val="F3F3F3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905375" y="2843889"/>
            <a:ext cx="13446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Automatically</a:t>
            </a:r>
          </a:p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ject</a:t>
            </a:r>
            <a:endParaRPr lang="en-US" altLang="zh-CN" sz="8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7452689" y="2843889"/>
            <a:ext cx="13446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Automatically</a:t>
            </a:r>
          </a:p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accept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6303963" y="2843889"/>
            <a:ext cx="13446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Assign to credit processor</a:t>
            </a:r>
          </a:p>
        </p:txBody>
      </p:sp>
      <p:grpSp>
        <p:nvGrpSpPr>
          <p:cNvPr id="88" name="Group 87"/>
          <p:cNvGrpSpPr/>
          <p:nvPr/>
        </p:nvGrpSpPr>
        <p:grpSpPr>
          <a:xfrm>
            <a:off x="500215" y="3127315"/>
            <a:ext cx="3318715" cy="967264"/>
            <a:chOff x="1046053" y="4914815"/>
            <a:chExt cx="4424680" cy="1289685"/>
          </a:xfrm>
        </p:grpSpPr>
        <p:sp>
          <p:nvSpPr>
            <p:cNvPr id="7" name="Rectangle: Rounded Corners 6"/>
            <p:cNvSpPr/>
            <p:nvPr/>
          </p:nvSpPr>
          <p:spPr>
            <a:xfrm>
              <a:off x="1409908" y="5019590"/>
              <a:ext cx="4060825" cy="1184910"/>
            </a:xfrm>
            <a:prstGeom prst="roundRect">
              <a:avLst/>
            </a:prstGeom>
            <a:solidFill>
              <a:schemeClr val="bg2">
                <a:alpha val="59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2331509" y="5171102"/>
              <a:ext cx="2859932" cy="902648"/>
              <a:chOff x="2902809" y="5222368"/>
              <a:chExt cx="2859932" cy="902648"/>
            </a:xfrm>
          </p:grpSpPr>
          <p:sp>
            <p:nvSpPr>
              <p:cNvPr id="38" name="TextBox 38"/>
              <p:cNvSpPr txBox="1"/>
              <p:nvPr/>
            </p:nvSpPr>
            <p:spPr>
              <a:xfrm>
                <a:off x="2902809" y="5919832"/>
                <a:ext cx="2699266" cy="20518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en-GB" sz="10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Credit Risk Management Model</a:t>
                </a:r>
                <a:r>
                  <a:rPr lang="en-US" altLang="zh-CN" sz="10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3254051" y="5222368"/>
                <a:ext cx="2508690" cy="6155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200" b="1" dirty="0"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Anticipated probability of default</a:t>
                </a:r>
              </a:p>
            </p:txBody>
          </p:sp>
        </p:grpSp>
        <p:sp>
          <p:nvSpPr>
            <p:cNvPr id="85" name="Rectangle 84"/>
            <p:cNvSpPr/>
            <p:nvPr/>
          </p:nvSpPr>
          <p:spPr>
            <a:xfrm>
              <a:off x="1046053" y="4914815"/>
              <a:ext cx="1573200" cy="4333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87" name="Picture 86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842" y="2788965"/>
            <a:ext cx="1160463" cy="1179877"/>
          </a:xfrm>
          <a:prstGeom prst="rect">
            <a:avLst/>
          </a:prstGeom>
          <a:effectLst/>
        </p:spPr>
      </p:pic>
      <p:sp>
        <p:nvSpPr>
          <p:cNvPr id="360" name="Arrow: Right 359">
            <a:extLst>
              <a:ext uri="{FF2B5EF4-FFF2-40B4-BE49-F238E27FC236}">
                <a16:creationId xmlns:a16="http://schemas.microsoft.com/office/drawing/2014/main" id="{B1B02457-EDB0-4D0C-AB7D-EFABC42DA57C}"/>
              </a:ext>
            </a:extLst>
          </p:cNvPr>
          <p:cNvSpPr/>
          <p:nvPr/>
        </p:nvSpPr>
        <p:spPr bwMode="invGray">
          <a:xfrm rot="16200000" flipV="1">
            <a:off x="6569075" y="2057400"/>
            <a:ext cx="369888" cy="627063"/>
          </a:xfrm>
          <a:prstGeom prst="rightArrow">
            <a:avLst>
              <a:gd name="adj1" fmla="val 50000"/>
              <a:gd name="adj2" fmla="val 58761"/>
            </a:avLst>
          </a:prstGeom>
          <a:solidFill>
            <a:schemeClr val="bg1">
              <a:lumMod val="75000"/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1050" dirty="0">
              <a:solidFill>
                <a:srgbClr val="F3F3F3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Google Shape;411;p83">
            <a:extLst>
              <a:ext uri="{FF2B5EF4-FFF2-40B4-BE49-F238E27FC236}">
                <a16:creationId xmlns:a16="http://schemas.microsoft.com/office/drawing/2014/main" id="{B1B078BB-07D8-4501-B65F-A62861EA752A}"/>
              </a:ext>
            </a:extLst>
          </p:cNvPr>
          <p:cNvSpPr/>
          <p:nvPr/>
        </p:nvSpPr>
        <p:spPr>
          <a:xfrm>
            <a:off x="0" y="77507"/>
            <a:ext cx="7530145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ystem designed to facilitate human processing</a:t>
            </a:r>
            <a:endParaRPr lang="en-US" sz="28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ED9AEFB-717C-4546-9F5F-B7AA9D472187}"/>
              </a:ext>
            </a:extLst>
          </p:cNvPr>
          <p:cNvSpPr txBox="1"/>
          <p:nvPr/>
        </p:nvSpPr>
        <p:spPr>
          <a:xfrm>
            <a:off x="5197475" y="930129"/>
            <a:ext cx="36226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utcomes</a:t>
            </a:r>
            <a:r>
              <a:rPr lang="en-US" sz="1200" b="1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of risk classe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D490780-7871-4618-9F46-970D7728C730}"/>
              </a:ext>
            </a:extLst>
          </p:cNvPr>
          <p:cNvSpPr txBox="1"/>
          <p:nvPr/>
        </p:nvSpPr>
        <p:spPr>
          <a:xfrm>
            <a:off x="4113894" y="3871246"/>
            <a:ext cx="97624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isk classificat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32AB48C-DFC1-4B26-9EC9-FA38174B6EFB}"/>
              </a:ext>
            </a:extLst>
          </p:cNvPr>
          <p:cNvSpPr txBox="1"/>
          <p:nvPr/>
        </p:nvSpPr>
        <p:spPr>
          <a:xfrm>
            <a:off x="7172325" y="2293707"/>
            <a:ext cx="1471613" cy="153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valuate outcome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614216E-0441-43AB-A80D-3C2360284A92}"/>
              </a:ext>
            </a:extLst>
          </p:cNvPr>
          <p:cNvSpPr txBox="1"/>
          <p:nvPr/>
        </p:nvSpPr>
        <p:spPr>
          <a:xfrm>
            <a:off x="5119163" y="2611436"/>
            <a:ext cx="3621314" cy="185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isk classes</a:t>
            </a:r>
            <a:r>
              <a:rPr lang="en-US" sz="1200" b="1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and respective ac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C4C14E8-7855-4F40-9656-A18B7284DB3E}"/>
              </a:ext>
            </a:extLst>
          </p:cNvPr>
          <p:cNvSpPr txBox="1"/>
          <p:nvPr/>
        </p:nvSpPr>
        <p:spPr>
          <a:xfrm>
            <a:off x="174171" y="4786538"/>
            <a:ext cx="404971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aseline="300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ample outcome scenario based on 6000 unseen credit application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E0F4F62-641C-4AAE-9F27-166D6AD587D0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36865" y="825706"/>
            <a:ext cx="4327593" cy="2175991"/>
          </a:xfrm>
          <a:prstGeom prst="rect">
            <a:avLst/>
          </a:prstGeom>
        </p:spPr>
      </p:pic>
      <p:pic>
        <p:nvPicPr>
          <p:cNvPr id="53" name="Google Shape;341;p77">
            <a:extLst>
              <a:ext uri="{FF2B5EF4-FFF2-40B4-BE49-F238E27FC236}">
                <a16:creationId xmlns:a16="http://schemas.microsoft.com/office/drawing/2014/main" id="{1F6B0A28-9F5B-4161-A847-5CF280D6A16D}"/>
              </a:ext>
            </a:extLst>
          </p:cNvPr>
          <p:cNvPicPr preferRelativeResize="0"/>
          <p:nvPr/>
        </p:nvPicPr>
        <p:blipFill>
          <a:blip r:embed="rId33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BEF877D7-6F2D-498C-BEB9-15A31A6EAF88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015C46BF-3512-472F-AF4A-CB23D4D7CFC8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6" name="Graphic 55" descr="Video camera with solid fill">
              <a:extLst>
                <a:ext uri="{FF2B5EF4-FFF2-40B4-BE49-F238E27FC236}">
                  <a16:creationId xmlns:a16="http://schemas.microsoft.com/office/drawing/2014/main" id="{8E06CF91-6F5E-47FA-8478-563568D3EF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562A9-EFC2-4EB1-B0E1-9BBB5DE35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2133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5"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7A27C2FB-921F-4F33-A272-FFB0829A4A38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1F47E52-D306-4997-B903-647E7F7206E1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3" name="Graphic 32" descr="Video camera with solid fill">
              <a:extLst>
                <a:ext uri="{FF2B5EF4-FFF2-40B4-BE49-F238E27FC236}">
                  <a16:creationId xmlns:a16="http://schemas.microsoft.com/office/drawing/2014/main" id="{2E8339FD-5A4F-41D4-B983-93C33ED7CA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  <p:sp>
        <p:nvSpPr>
          <p:cNvPr id="427" name="Google Shape;427;p85"/>
          <p:cNvSpPr/>
          <p:nvPr/>
        </p:nvSpPr>
        <p:spPr>
          <a:xfrm>
            <a:off x="0" y="103600"/>
            <a:ext cx="6270172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fi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sz="240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gain proportional to </a:t>
            </a:r>
            <a:r>
              <a:rPr lang="en-US" sz="2400" b="1" dirty="0" err="1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bour</a:t>
            </a: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quality</a:t>
            </a: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A9CF5305-E757-46A5-9DBD-5BC03123365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97158140"/>
              </p:ext>
            </p:extLst>
          </p:nvPr>
        </p:nvGraphicFramePr>
        <p:xfrm>
          <a:off x="471488" y="2124075"/>
          <a:ext cx="3929062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379B0EF-A885-4FAD-8397-9662275315A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493838" y="1843088"/>
            <a:ext cx="1882775" cy="5746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3" name="Google Shape;52;p13">
            <a:extLst>
              <a:ext uri="{FF2B5EF4-FFF2-40B4-BE49-F238E27FC236}">
                <a16:creationId xmlns:a16="http://schemas.microsoft.com/office/drawing/2014/main" id="{5DED1473-56DE-4257-895C-E3233910F365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143250" y="2016125"/>
            <a:ext cx="4667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CF42FF-A15E-4059-975F-2C9E1510123A}" type="datetime'''''''''$''''''''''1.''''''2''''''''M''''''''''''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2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8" name="Google Shape;52;p13">
            <a:extLst>
              <a:ext uri="{FF2B5EF4-FFF2-40B4-BE49-F238E27FC236}">
                <a16:creationId xmlns:a16="http://schemas.microsoft.com/office/drawing/2014/main" id="{A697B9C7-3565-4EC5-AD96-CE5EAD549E3E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96975" y="3787775"/>
            <a:ext cx="593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21B7564-23EE-4A88-84DB-E6CE9B391408}" type="datetime'''''''Ba''''''''''''''''''''s''''e''li''''''''''''ne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Baseline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Google Shape;52;p13">
            <a:extLst>
              <a:ext uri="{FF2B5EF4-FFF2-40B4-BE49-F238E27FC236}">
                <a16:creationId xmlns:a16="http://schemas.microsoft.com/office/drawing/2014/main" id="{ED812EA7-B21F-4911-B31A-86021134902F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73075" y="3168650"/>
            <a:ext cx="355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02F772A-0860-4464-A202-17B639F83C27}" type="datetime'''''''''''''''''P''''ro''''''''''f''''''''''''''''i''t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Profit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0" name="Google Shape;52;p13">
            <a:extLst>
              <a:ext uri="{FF2B5EF4-FFF2-40B4-BE49-F238E27FC236}">
                <a16:creationId xmlns:a16="http://schemas.microsoft.com/office/drawing/2014/main" id="{87C16F3E-D1A8-44F9-BDA8-8CA864C4ADF5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906713" y="3787775"/>
            <a:ext cx="941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40C098-4C90-4304-A8A6-D41A9AE465A6}" type="datetime'''''''O''ur ''a''p''''p''''r''''''o''''''ac''''''h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Our approach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2" name="Google Shape;52;p13">
            <a:extLst>
              <a:ext uri="{FF2B5EF4-FFF2-40B4-BE49-F238E27FC236}">
                <a16:creationId xmlns:a16="http://schemas.microsoft.com/office/drawing/2014/main" id="{023324A4-AB7F-4C94-93B2-5954225FCFA2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260475" y="2590800"/>
            <a:ext cx="4667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CC5084-97FE-42A1-9463-B480874178E4}" type="datetime'''''''''''''''''''''''$''''''0''''''''.''''''8''''''M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0.8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Google Shape;52;p13">
            <a:extLst>
              <a:ext uri="{FF2B5EF4-FFF2-40B4-BE49-F238E27FC236}">
                <a16:creationId xmlns:a16="http://schemas.microsoft.com/office/drawing/2014/main" id="{01151EA4-A803-4984-BF4A-25F5BE6F8CFA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68513" y="2001838"/>
            <a:ext cx="7350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343A1F9-77FF-453C-BF04-9CFFE8F1CBF7}" type="datetime'+''''''''''''6''''''''''''0.''''''''''''''''''''''''''1''%'">
              <a:rPr lang="en-US" altLang="en-US" sz="12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+60.1%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80BAAD80-290D-4B17-979F-97ED095A860C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4426264"/>
              </p:ext>
            </p:extLst>
          </p:nvPr>
        </p:nvGraphicFramePr>
        <p:xfrm>
          <a:off x="5164138" y="2124075"/>
          <a:ext cx="3351212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315" name="Google Shape;52;p13">
            <a:extLst>
              <a:ext uri="{FF2B5EF4-FFF2-40B4-BE49-F238E27FC236}">
                <a16:creationId xmlns:a16="http://schemas.microsoft.com/office/drawing/2014/main" id="{B991147A-446A-4D24-8DC6-5FAD8B3F9C13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672013" y="3276600"/>
            <a:ext cx="422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EC0056-32D3-40F7-ABB6-9A585E682374}" type="datetime'''$''''''''''''''''''0''''''''''''''''.''''5''''''''''M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0.5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6" name="Google Shape;52;p13">
            <a:extLst>
              <a:ext uri="{FF2B5EF4-FFF2-40B4-BE49-F238E27FC236}">
                <a16:creationId xmlns:a16="http://schemas.microsoft.com/office/drawing/2014/main" id="{3F29185A-803B-4C90-B740-7D9364BD27F1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672013" y="2894013"/>
            <a:ext cx="422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2B6223-9919-4744-89B4-38433EE335CE}" type="datetime'''''''''''''''''''''$1''''.''''''''''''0M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0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7" name="Google Shape;52;p13">
            <a:extLst>
              <a:ext uri="{FF2B5EF4-FFF2-40B4-BE49-F238E27FC236}">
                <a16:creationId xmlns:a16="http://schemas.microsoft.com/office/drawing/2014/main" id="{DBAB50F3-4DE6-4BD9-A0F4-2D92261054FB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72013" y="2511425"/>
            <a:ext cx="422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C324DCC-6FA2-491F-8DAC-997545710494}" type="datetime'''''''''''''''''''$''''''''1''.''5M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5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8" name="Google Shape;52;p13">
            <a:extLst>
              <a:ext uri="{FF2B5EF4-FFF2-40B4-BE49-F238E27FC236}">
                <a16:creationId xmlns:a16="http://schemas.microsoft.com/office/drawing/2014/main" id="{165806EE-7737-45A9-AB9B-EB9B758FAD60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72013" y="2128838"/>
            <a:ext cx="422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266F09-781C-4CA5-8AB7-098B10B20864}" type="datetime'''''''''''''''''''''''$''''''''''''''''''2.''''0''''''''''M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2.0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780C904D-C4A3-4299-8AAB-79D63E1A2F07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V="1">
            <a:off x="6840538" y="2781300"/>
            <a:ext cx="0" cy="3635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" name="Google Shape;52;p13">
            <a:extLst>
              <a:ext uri="{FF2B5EF4-FFF2-40B4-BE49-F238E27FC236}">
                <a16:creationId xmlns:a16="http://schemas.microsoft.com/office/drawing/2014/main" id="{6AFFAB7A-6C8D-44E6-9DF2-CFF460486F9D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084763" y="3787775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High</a:t>
            </a:r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5" name="Google Shape;52;p13">
            <a:extLst>
              <a:ext uri="{FF2B5EF4-FFF2-40B4-BE49-F238E27FC236}">
                <a16:creationId xmlns:a16="http://schemas.microsoft.com/office/drawing/2014/main" id="{539006F7-CCAF-4E94-A834-5E04E5586C67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62700" y="4113213"/>
            <a:ext cx="9525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bour</a:t>
            </a:r>
            <a:r>
              <a:rPr lang="en-US" alt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quality</a:t>
            </a:r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Google Shape;52;p13">
            <a:extLst>
              <a:ext uri="{FF2B5EF4-FFF2-40B4-BE49-F238E27FC236}">
                <a16:creationId xmlns:a16="http://schemas.microsoft.com/office/drawing/2014/main" id="{F406661F-FEE6-43D4-9F07-76A2BB02D6E8}"/>
              </a:ext>
            </a:extLst>
          </p:cNvPr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288338" y="3787775"/>
            <a:ext cx="2905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ow</a:t>
            </a:r>
          </a:p>
        </p:txBody>
      </p:sp>
      <p:sp>
        <p:nvSpPr>
          <p:cNvPr id="270" name="Google Shape;52;p13">
            <a:extLst>
              <a:ext uri="{FF2B5EF4-FFF2-40B4-BE49-F238E27FC236}">
                <a16:creationId xmlns:a16="http://schemas.microsoft.com/office/drawing/2014/main" id="{3F135986-4AC1-4045-A7D9-AE602890C72A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672013" y="1803400"/>
            <a:ext cx="355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fit</a:t>
            </a:r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3" name="Google Shape;52;p13">
            <a:extLst>
              <a:ext uri="{FF2B5EF4-FFF2-40B4-BE49-F238E27FC236}">
                <a16:creationId xmlns:a16="http://schemas.microsoft.com/office/drawing/2014/main" id="{CD8B167C-3435-4591-80A3-1BE508D91C77}"/>
              </a:ext>
            </a:extLst>
          </p:cNvPr>
          <p:cNvSpPr txBox="1"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931025" y="2876550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2647DF-78C0-49F6-B76F-983318ECA31A}" type="datetime'+''''''6''''''0''''''''''''.''1''''%'''''''''''">
              <a:rPr lang="en-US" altLang="en-US" sz="8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+60.1%</a:t>
            </a:fld>
            <a:endParaRPr lang="en-US" sz="8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B832E852-9DC7-4AE5-AB0F-13E94B3D1D5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7188200" y="2351088"/>
            <a:ext cx="195263" cy="0"/>
          </a:xfrm>
          <a:prstGeom prst="line">
            <a:avLst/>
          </a:prstGeom>
          <a:ln w="19050" cap="rnd" cmpd="sng" algn="ctr">
            <a:solidFill>
              <a:srgbClr val="26262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374E0E0A-4B22-43B0-8E8B-49BD4203F9B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7188200" y="2584450"/>
            <a:ext cx="195263" cy="0"/>
          </a:xfrm>
          <a:prstGeom prst="line">
            <a:avLst/>
          </a:prstGeom>
          <a:ln w="19050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Google Shape;52;p13">
            <a:extLst>
              <a:ext uri="{FF2B5EF4-FFF2-40B4-BE49-F238E27FC236}">
                <a16:creationId xmlns:a16="http://schemas.microsoft.com/office/drawing/2014/main" id="{A34EAD1C-94F7-40FE-9EAE-642095B1CD92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443788" y="2266950"/>
            <a:ext cx="9286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A6F93BE-7139-49A6-A0F4-7DC067EC2E8C}" type="datetime'''O''u''''''r ap''''''''''p''''''ro''a''ch''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Our approach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Google Shape;52;p13">
            <a:extLst>
              <a:ext uri="{FF2B5EF4-FFF2-40B4-BE49-F238E27FC236}">
                <a16:creationId xmlns:a16="http://schemas.microsoft.com/office/drawing/2014/main" id="{FEEE9ED0-690F-4B97-B699-E3D973D42673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443788" y="2500313"/>
            <a:ext cx="581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CA1E8B3-B369-4387-BE24-325356199407}" type="datetime'''B''''''a''''''''s''''''''''''''e''l''''''''''i''n''''e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Baseline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B88ECBA6-F9D5-47BF-902C-FD3F5DA22C68}"/>
              </a:ext>
            </a:extLst>
          </p:cNvPr>
          <p:cNvSpPr txBox="1"/>
          <p:nvPr/>
        </p:nvSpPr>
        <p:spPr>
          <a:xfrm>
            <a:off x="609600" y="1197916"/>
            <a:ext cx="362131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pected increase in profit</a:t>
            </a:r>
            <a:r>
              <a:rPr lang="en-US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n implementing our model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1F3213EF-BDCC-47E5-8598-69F75545B1B5}"/>
              </a:ext>
            </a:extLst>
          </p:cNvPr>
          <p:cNvSpPr txBox="1"/>
          <p:nvPr/>
        </p:nvSpPr>
        <p:spPr>
          <a:xfrm>
            <a:off x="4672013" y="1197916"/>
            <a:ext cx="347617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nsitivity of profit</a:t>
            </a:r>
            <a:r>
              <a:rPr lang="en-US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gain with respect to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bour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quality </a:t>
            </a:r>
          </a:p>
        </p:txBody>
      </p:sp>
      <p:sp>
        <p:nvSpPr>
          <p:cNvPr id="450" name="TextBox 449">
            <a:extLst>
              <a:ext uri="{FF2B5EF4-FFF2-40B4-BE49-F238E27FC236}">
                <a16:creationId xmlns:a16="http://schemas.microsoft.com/office/drawing/2014/main" id="{942F57CB-6123-4141-B8EB-5E77469C1820}"/>
              </a:ext>
            </a:extLst>
          </p:cNvPr>
          <p:cNvSpPr txBox="1"/>
          <p:nvPr/>
        </p:nvSpPr>
        <p:spPr>
          <a:xfrm>
            <a:off x="174171" y="4837337"/>
            <a:ext cx="404971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aseline="300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ample outcome scenario 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ased on 6000 unseen credit applications</a:t>
            </a:r>
          </a:p>
        </p:txBody>
      </p:sp>
      <p:pic>
        <p:nvPicPr>
          <p:cNvPr id="30" name="Google Shape;341;p77">
            <a:extLst>
              <a:ext uri="{FF2B5EF4-FFF2-40B4-BE49-F238E27FC236}">
                <a16:creationId xmlns:a16="http://schemas.microsoft.com/office/drawing/2014/main" id="{01D1AE87-CE65-4D6E-BCAF-25661ABE9513}"/>
              </a:ext>
            </a:extLst>
          </p:cNvPr>
          <p:cNvPicPr preferRelativeResize="0"/>
          <p:nvPr/>
        </p:nvPicPr>
        <p:blipFill>
          <a:blip r:embed="rId34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44511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1F19E5-EC37-45D9-A5B1-E837147B22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900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0" name="think-cell Slide" r:id="rId32" imgW="425" imgH="426" progId="TCLayout.ActiveDocument.1">
                  <p:embed/>
                </p:oleObj>
              </mc:Choice>
              <mc:Fallback>
                <p:oleObj name="think-cell Slide" r:id="rId32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4" name="Google Shape;444;p86"/>
          <p:cNvSpPr/>
          <p:nvPr/>
        </p:nvSpPr>
        <p:spPr>
          <a:xfrm>
            <a:off x="0" y="153018"/>
            <a:ext cx="6183444" cy="891465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ervative approach leads to increased net revenu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5973BE-68FE-417B-B7BD-3E54F572485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555875" y="3441700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C70384A-45D2-4CB6-853A-EFCF72EAC6B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38213" y="3035300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E6543D-5A38-4EAB-95EA-71486ACEC44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747838" y="3441700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Straight Connector 501">
            <a:extLst>
              <a:ext uri="{FF2B5EF4-FFF2-40B4-BE49-F238E27FC236}">
                <a16:creationId xmlns:a16="http://schemas.microsoft.com/office/drawing/2014/main" id="{FC0072C7-08E2-4C29-8005-8EDABD87804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365500" y="3622675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7EF42164-3EA5-42F8-9A8C-7958D93D666E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89328243"/>
              </p:ext>
            </p:extLst>
          </p:nvPr>
        </p:nvGraphicFramePr>
        <p:xfrm>
          <a:off x="227013" y="2781300"/>
          <a:ext cx="4208462" cy="1189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333" name="Google Shape;52;p13">
            <a:extLst>
              <a:ext uri="{FF2B5EF4-FFF2-40B4-BE49-F238E27FC236}">
                <a16:creationId xmlns:a16="http://schemas.microsoft.com/office/drawing/2014/main" id="{F1FEB929-D8B6-4353-9AFE-136DCB027D8F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2275" y="3930650"/>
            <a:ext cx="58102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A5BA0F0-8BAD-43A6-A0F6-0851884190DF}" type="datetime'''''Reven''''''ue''s fr''om'' ''good ''''''''c''''r''ed''i''t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Revenues from good credit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9" name="Google Shape;52;p13">
            <a:extLst>
              <a:ext uri="{FF2B5EF4-FFF2-40B4-BE49-F238E27FC236}">
                <a16:creationId xmlns:a16="http://schemas.microsoft.com/office/drawing/2014/main" id="{DEF314CF-D7DB-4C46-8EDC-A64FA3E1D0F5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08100" y="3170238"/>
            <a:ext cx="428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7F7F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BC194A-2281-48EC-B9E3-58647D961FE6}" type="datetime'''''''''''-$1''''.''''''''''''2''M''''''''''''''''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-$1.2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5" name="Google Shape;52;p13">
            <a:extLst>
              <a:ext uri="{FF2B5EF4-FFF2-40B4-BE49-F238E27FC236}">
                <a16:creationId xmlns:a16="http://schemas.microsoft.com/office/drawing/2014/main" id="{7DACA47F-96B1-4B65-BEA5-4948B8C57E6B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756025" y="3460750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BCB4411-5984-4494-BAC4-3BC741BF42F1}" type="datetime'''$''''''''''''''''''0''''.''''8''M''''''''''''''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0.8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5" name="Google Shape;52;p13">
            <a:extLst>
              <a:ext uri="{FF2B5EF4-FFF2-40B4-BE49-F238E27FC236}">
                <a16:creationId xmlns:a16="http://schemas.microsoft.com/office/drawing/2014/main" id="{F2E0D9E6-DF1A-4231-8992-AE5C5DE18AC0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38250" y="3930650"/>
            <a:ext cx="5683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A9F971A-6863-4E8B-90F0-B58B57761686}" type="datetime'''Loss'''' f''ro''''m'''' bad ''''''cre''d''i''''t''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oss from bad credit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6" name="Google Shape;52;p13">
            <a:extLst>
              <a:ext uri="{FF2B5EF4-FFF2-40B4-BE49-F238E27FC236}">
                <a16:creationId xmlns:a16="http://schemas.microsoft.com/office/drawing/2014/main" id="{E70DA945-3D86-47E1-8254-78DB0C301DB9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49450" y="3930650"/>
            <a:ext cx="763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7AB262F-A981-4E25-9CA5-C584F0D5479F}" type="datetime'''N''''''e''''''t ''''''''''''''''re''v''''e''''n''''''ues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et revenues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4" name="Google Shape;52;p13">
            <a:extLst>
              <a:ext uri="{FF2B5EF4-FFF2-40B4-BE49-F238E27FC236}">
                <a16:creationId xmlns:a16="http://schemas.microsoft.com/office/drawing/2014/main" id="{F9A7AAEC-5AE2-4476-B180-8AB0751C36A5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925763" y="3463925"/>
            <a:ext cx="428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7F7F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BEAB8E-45E6-405F-8046-0BC0449DD4CE}" type="datetime'''''''-$0''.''''''''5''''M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-$0.5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8" name="Google Shape;52;p13">
            <a:extLst>
              <a:ext uri="{FF2B5EF4-FFF2-40B4-BE49-F238E27FC236}">
                <a16:creationId xmlns:a16="http://schemas.microsoft.com/office/drawing/2014/main" id="{49F4553C-87F4-4A71-807D-B97191EDD75E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794125" y="3930650"/>
            <a:ext cx="307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D55925-3A82-4C4D-9B7B-753EB50BDBFE}" type="datetime'''''''P''ro''''''''''''f''''''''''''''''i''t''''''''''''''''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fit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7" name="Google Shape;52;p13">
            <a:extLst>
              <a:ext uri="{FF2B5EF4-FFF2-40B4-BE49-F238E27FC236}">
                <a16:creationId xmlns:a16="http://schemas.microsoft.com/office/drawing/2014/main" id="{83AD8163-D0AC-4116-9B9D-EAD27EC9756F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760663" y="3930650"/>
            <a:ext cx="758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0609E9-2CB0-41A8-B30C-38FFEBC38343}" type="datetime'''R''ev''iew ''c''''''''''''''''''''''''o''''''''''''st''s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Review costs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Google Shape;52;p13">
            <a:extLst>
              <a:ext uri="{FF2B5EF4-FFF2-40B4-BE49-F238E27FC236}">
                <a16:creationId xmlns:a16="http://schemas.microsoft.com/office/drawing/2014/main" id="{64986A0E-20A3-4735-867F-3FF78C6EE866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275138" y="3678238"/>
            <a:ext cx="484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040245A-0CAA-43BC-928A-018F22393813}" type="datetime'''''Ba''''''''''''''''''''''''''s''''''e''''''''line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Baseline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6" name="Google Shape;52;p13">
            <a:extLst>
              <a:ext uri="{FF2B5EF4-FFF2-40B4-BE49-F238E27FC236}">
                <a16:creationId xmlns:a16="http://schemas.microsoft.com/office/drawing/2014/main" id="{EEA77907-23D4-4BBD-BFA7-9F795C5A33E7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20700" y="2873375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83B9DD0-E485-497F-81EC-EE6A6DE59B95}" type="datetime'$''''''''''''''''2''''.''''''''''''''''5''''''''''''M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2.5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0" name="Google Shape;52;p13">
            <a:extLst>
              <a:ext uri="{FF2B5EF4-FFF2-40B4-BE49-F238E27FC236}">
                <a16:creationId xmlns:a16="http://schemas.microsoft.com/office/drawing/2014/main" id="{B098047A-E985-43FA-B6B0-64B9EE506C3A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138363" y="3279775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AB4F23-1221-4F98-AAEC-00E3C2570E99}" type="datetime'''''''''''''''''''''''''''''$''''1''.''''3''''''''''''M''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3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11" name="Straight Connector 510">
            <a:extLst>
              <a:ext uri="{FF2B5EF4-FFF2-40B4-BE49-F238E27FC236}">
                <a16:creationId xmlns:a16="http://schemas.microsoft.com/office/drawing/2014/main" id="{4A0EF56E-0C73-4B42-9595-53F6383F92A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2543175" y="211613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CDF3A20-67A1-45AA-AF08-2B465119389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3352800" y="224948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2E266ED-BE89-495E-BCAB-D3EF82AA5CD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925513" y="191928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0" name="Straight Connector 509">
            <a:extLst>
              <a:ext uri="{FF2B5EF4-FFF2-40B4-BE49-F238E27FC236}">
                <a16:creationId xmlns:a16="http://schemas.microsoft.com/office/drawing/2014/main" id="{7E7E89D9-55A6-4BEE-83DF-4BCCDA330DB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735138" y="211613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5B85EF34-D732-45FF-BBDF-E05262263808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966189427"/>
              </p:ext>
            </p:extLst>
          </p:nvPr>
        </p:nvGraphicFramePr>
        <p:xfrm>
          <a:off x="214313" y="1568450"/>
          <a:ext cx="4208462" cy="1189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86" name="Google Shape;52;p13">
            <a:extLst>
              <a:ext uri="{FF2B5EF4-FFF2-40B4-BE49-F238E27FC236}">
                <a16:creationId xmlns:a16="http://schemas.microsoft.com/office/drawing/2014/main" id="{C6D4189B-31F5-454D-A64B-37E47CD7680A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913063" y="2114550"/>
            <a:ext cx="428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62626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20E9C87-7590-4AEF-BB21-8BC1FF8EFB8B}" type="datetime'''''-$''''''''''''0''''''''''.''4''''''M''''''''''''''''''''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-$0.4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Google Shape;52;p13">
            <a:extLst>
              <a:ext uri="{FF2B5EF4-FFF2-40B4-BE49-F238E27FC236}">
                <a16:creationId xmlns:a16="http://schemas.microsoft.com/office/drawing/2014/main" id="{1F8EC48D-097C-468F-AC09-636A55D60DB4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295400" y="1949450"/>
            <a:ext cx="428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62626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88AD1E8-A3E3-42F0-B880-9127EBF9E2DE}" type="datetime'''''''''''''''-''''''''$''''0''''.''''''''6''''''M''''''''''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-$0.6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Google Shape;52;p13">
            <a:extLst>
              <a:ext uri="{FF2B5EF4-FFF2-40B4-BE49-F238E27FC236}">
                <a16:creationId xmlns:a16="http://schemas.microsoft.com/office/drawing/2014/main" id="{D1F5EAE2-20C7-4E8F-BD88-94CA5305F3F9}"/>
              </a:ext>
            </a:extLst>
          </p:cNvPr>
          <p:cNvSpPr txBox="1"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43325" y="2393950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62626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D5D03A-BDFD-487D-AD09-6DBCE19B2B8C}" type="datetime'''''''''''''''''''$''''''1''''''''''.''''''''''2''''''''''''M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2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Google Shape;52;p13">
            <a:extLst>
              <a:ext uri="{FF2B5EF4-FFF2-40B4-BE49-F238E27FC236}">
                <a16:creationId xmlns:a16="http://schemas.microsoft.com/office/drawing/2014/main" id="{DDF2F5C8-02A2-41A3-9D3A-BBC450368B27}"/>
              </a:ext>
            </a:extLst>
          </p:cNvPr>
          <p:cNvSpPr txBox="1"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262438" y="2386013"/>
            <a:ext cx="771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F60DAA0-EFFD-416D-B8F8-E62D92F82AFE}" type="datetime'Our'''''''' a''p''''proa''''''''c''''h''''''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Our approach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3" name="Google Shape;52;p13">
            <a:extLst>
              <a:ext uri="{FF2B5EF4-FFF2-40B4-BE49-F238E27FC236}">
                <a16:creationId xmlns:a16="http://schemas.microsoft.com/office/drawing/2014/main" id="{FC460A52-7119-475D-BAB6-5F00C1686DC8}"/>
              </a:ext>
            </a:extLst>
          </p:cNvPr>
          <p:cNvSpPr txBox="1"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08000" y="1757363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C202CB4-95DE-4801-8DC4-01A6E5790648}" type="datetime'''''''''''$''''''''''''''''''''''2.''''2''''M''''''''''''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2.2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0" name="Google Shape;52;p13">
            <a:extLst>
              <a:ext uri="{FF2B5EF4-FFF2-40B4-BE49-F238E27FC236}">
                <a16:creationId xmlns:a16="http://schemas.microsoft.com/office/drawing/2014/main" id="{DA010AE4-D322-4D46-A4D6-DA898A50D446}"/>
              </a:ext>
            </a:extLst>
          </p:cNvPr>
          <p:cNvSpPr txBox="1"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125663" y="1954213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1903D6-D0F7-4D6F-A806-0A4527A1D9FC}" type="datetime'''''''''''''''''''''''$1''''.6''''''''M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6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E82636FC-EC31-47F0-B7D7-ACF4E405EF7B}"/>
              </a:ext>
            </a:extLst>
          </p:cNvPr>
          <p:cNvSpPr txBox="1"/>
          <p:nvPr/>
        </p:nvSpPr>
        <p:spPr>
          <a:xfrm>
            <a:off x="1" y="4493493"/>
            <a:ext cx="5172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aseline="300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ample outcome scenario based on 6000 unseen credit applications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; </a:t>
            </a:r>
            <a:r>
              <a:rPr lang="en-US" sz="900" baseline="300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s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ssumptions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verag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credit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iz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(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36"/>
              </a:rPr>
              <a:t>Lendingtre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,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verag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Interest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at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(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37"/>
              </a:rPr>
              <a:t>Valuepenguin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,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view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cost c</a:t>
            </a:r>
            <a:r>
              <a:rPr lang="en-US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lculated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based on average credit processor wag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 (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38"/>
              </a:rPr>
              <a:t>Glassdoor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and average monthly workload based on job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scriptions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(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39"/>
              </a:rPr>
              <a:t>Indeed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en-US" sz="9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E825A25F-C517-44C0-A23D-B24A96A993B5}"/>
              </a:ext>
            </a:extLst>
          </p:cNvPr>
          <p:cNvSpPr txBox="1"/>
          <p:nvPr/>
        </p:nvSpPr>
        <p:spPr>
          <a:xfrm>
            <a:off x="309562" y="1222943"/>
            <a:ext cx="486251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pected profit composition in our evaluation scenario</a:t>
            </a:r>
            <a:r>
              <a:rPr lang="en-US" b="1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DE32977-04A4-455A-B00F-16651ED14E7D}"/>
              </a:ext>
            </a:extLst>
          </p:cNvPr>
          <p:cNvGrpSpPr/>
          <p:nvPr/>
        </p:nvGrpSpPr>
        <p:grpSpPr>
          <a:xfrm>
            <a:off x="6121547" y="2399752"/>
            <a:ext cx="2760663" cy="1551366"/>
            <a:chOff x="6121547" y="2144922"/>
            <a:chExt cx="2760663" cy="1551366"/>
          </a:xfrm>
        </p:grpSpPr>
        <p:graphicFrame>
          <p:nvGraphicFramePr>
            <p:cNvPr id="445" name="Google Shape;445;p86"/>
            <p:cNvGraphicFramePr/>
            <p:nvPr>
              <p:extLst>
                <p:ext uri="{D42A27DB-BD31-4B8C-83A1-F6EECF244321}">
                  <p14:modId xmlns:p14="http://schemas.microsoft.com/office/powerpoint/2010/main" val="905371559"/>
                </p:ext>
              </p:extLst>
            </p:nvPr>
          </p:nvGraphicFramePr>
          <p:xfrm>
            <a:off x="6121547" y="2396958"/>
            <a:ext cx="2760663" cy="1299330"/>
          </p:xfrm>
          <a:graphic>
            <a:graphicData uri="http://schemas.openxmlformats.org/drawingml/2006/table">
              <a:tbl>
                <a:tblPr>
                  <a:noFill/>
                  <a:tableStyleId>{B7143223-556B-4BAE-9583-33E03EAB3CE1}</a:tableStyleId>
                </a:tblPr>
                <a:tblGrid>
                  <a:gridCol w="1944776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815887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273152"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b="1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Assumption</a:t>
                        </a:r>
                        <a:r>
                          <a:rPr lang="hu-HU" sz="1200" b="0" baseline="30000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2</a:t>
                        </a:r>
                        <a:endParaRPr 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91425" marR="91425" marT="91425" marB="91425" anchor="ctr">
                      <a:lnL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b="1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Value</a:t>
                        </a:r>
                        <a:endParaRPr lang="en-US" sz="1200" b="1" dirty="0"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91425" marR="91425" marT="91425" marB="914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250387"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Average Credit Size</a:t>
                        </a:r>
                      </a:p>
                    </a:txBody>
                    <a:tcPr marL="54000" marR="54000" marT="54000" marB="54000" anchor="ctr">
                      <a:lnL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$6,092</a:t>
                        </a:r>
                        <a:endParaRPr lang="en-US" sz="1000" b="0" dirty="0">
                          <a:solidFill>
                            <a:srgbClr val="85858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54000" marR="54000" marT="54000" marB="54000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250387"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Average Interest</a:t>
                        </a:r>
                        <a:r>
                          <a:rPr lang="en-US" sz="1000" b="0" noProof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-rate</a:t>
                        </a:r>
                        <a:endParaRPr lang="en-US" sz="1000" b="0" dirty="0">
                          <a:solidFill>
                            <a:srgbClr val="85858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54000" marR="54000" marT="54000" marB="54000" anchor="ctr">
                      <a:lnL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11%</a:t>
                        </a:r>
                      </a:p>
                    </a:txBody>
                    <a:tcPr marL="54000" marR="54000" marT="54000" marB="54000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364209"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Average Loan Application Review Cost</a:t>
                        </a:r>
                        <a:endParaRPr lang="en-US" sz="1000" b="0" baseline="30000" dirty="0">
                          <a:solidFill>
                            <a:srgbClr val="85858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54000" marR="54000" marT="54000" marB="54000" anchor="ctr">
                      <a:lnL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$88.89</a:t>
                        </a:r>
                      </a:p>
                    </a:txBody>
                    <a:tcPr marL="54000" marR="54000" marT="54000" marB="54000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</a:tbl>
            </a:graphicData>
          </a:graphic>
        </p:graphicFrame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0B38C16F-FA7F-47E4-B9C4-1BB97D8E7206}"/>
                </a:ext>
              </a:extLst>
            </p:cNvPr>
            <p:cNvSpPr txBox="1"/>
            <p:nvPr/>
          </p:nvSpPr>
          <p:spPr>
            <a:xfrm>
              <a:off x="6121547" y="2144922"/>
              <a:ext cx="2760663" cy="1800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Key assumptions of calculations</a:t>
              </a:r>
              <a:endParaRPr lang="en-US" b="1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523" name="TextBox 522">
            <a:extLst>
              <a:ext uri="{FF2B5EF4-FFF2-40B4-BE49-F238E27FC236}">
                <a16:creationId xmlns:a16="http://schemas.microsoft.com/office/drawing/2014/main" id="{E39216C0-3CDC-45B1-8774-533CE3F365B1}"/>
              </a:ext>
            </a:extLst>
          </p:cNvPr>
          <p:cNvSpPr txBox="1"/>
          <p:nvPr/>
        </p:nvSpPr>
        <p:spPr>
          <a:xfrm>
            <a:off x="5846165" y="1293189"/>
            <a:ext cx="303604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ervative automated handling of high-risk applications reduces loss from bad credit, driving higher profits</a:t>
            </a:r>
            <a:endParaRPr lang="en-US" baseline="30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9" name="Google Shape;4952;p133">
            <a:extLst>
              <a:ext uri="{FF2B5EF4-FFF2-40B4-BE49-F238E27FC236}">
                <a16:creationId xmlns:a16="http://schemas.microsoft.com/office/drawing/2014/main" id="{84941D55-2D57-4159-92C3-6A92ED3A8F16}"/>
              </a:ext>
            </a:extLst>
          </p:cNvPr>
          <p:cNvSpPr/>
          <p:nvPr/>
        </p:nvSpPr>
        <p:spPr>
          <a:xfrm>
            <a:off x="5399170" y="1440337"/>
            <a:ext cx="349421" cy="352036"/>
          </a:xfrm>
          <a:custGeom>
            <a:avLst/>
            <a:gdLst/>
            <a:ahLst/>
            <a:cxnLst/>
            <a:rect l="l" t="t" r="r" b="b"/>
            <a:pathLst>
              <a:path w="12697" h="12792" extrusionOk="0">
                <a:moveTo>
                  <a:pt x="7310" y="3435"/>
                </a:moveTo>
                <a:cubicBezTo>
                  <a:pt x="7404" y="3435"/>
                  <a:pt x="7467" y="3498"/>
                  <a:pt x="7436" y="3624"/>
                </a:cubicBezTo>
                <a:cubicBezTo>
                  <a:pt x="7310" y="3939"/>
                  <a:pt x="7247" y="4223"/>
                  <a:pt x="7215" y="4538"/>
                </a:cubicBezTo>
                <a:lnTo>
                  <a:pt x="5419" y="4538"/>
                </a:lnTo>
                <a:cubicBezTo>
                  <a:pt x="5388" y="4223"/>
                  <a:pt x="5293" y="3908"/>
                  <a:pt x="5199" y="3624"/>
                </a:cubicBezTo>
                <a:cubicBezTo>
                  <a:pt x="5167" y="3498"/>
                  <a:pt x="5230" y="3435"/>
                  <a:pt x="5325" y="3435"/>
                </a:cubicBezTo>
                <a:close/>
                <a:moveTo>
                  <a:pt x="7121" y="5357"/>
                </a:moveTo>
                <a:cubicBezTo>
                  <a:pt x="7089" y="6428"/>
                  <a:pt x="7310" y="7436"/>
                  <a:pt x="7845" y="8381"/>
                </a:cubicBezTo>
                <a:lnTo>
                  <a:pt x="8003" y="8665"/>
                </a:lnTo>
                <a:lnTo>
                  <a:pt x="4726" y="8665"/>
                </a:lnTo>
                <a:lnTo>
                  <a:pt x="4852" y="8381"/>
                </a:lnTo>
                <a:cubicBezTo>
                  <a:pt x="5356" y="7436"/>
                  <a:pt x="5577" y="6396"/>
                  <a:pt x="5545" y="5357"/>
                </a:cubicBezTo>
                <a:close/>
                <a:moveTo>
                  <a:pt x="8381" y="9484"/>
                </a:moveTo>
                <a:cubicBezTo>
                  <a:pt x="8633" y="9484"/>
                  <a:pt x="8790" y="9704"/>
                  <a:pt x="8790" y="9925"/>
                </a:cubicBezTo>
                <a:lnTo>
                  <a:pt x="8790" y="10335"/>
                </a:lnTo>
                <a:lnTo>
                  <a:pt x="3813" y="10335"/>
                </a:lnTo>
                <a:lnTo>
                  <a:pt x="3813" y="9925"/>
                </a:lnTo>
                <a:lnTo>
                  <a:pt x="3844" y="9925"/>
                </a:lnTo>
                <a:cubicBezTo>
                  <a:pt x="3844" y="9704"/>
                  <a:pt x="4065" y="9484"/>
                  <a:pt x="4254" y="9484"/>
                </a:cubicBezTo>
                <a:close/>
                <a:moveTo>
                  <a:pt x="9200" y="11154"/>
                </a:moveTo>
                <a:cubicBezTo>
                  <a:pt x="9452" y="11154"/>
                  <a:pt x="9609" y="11343"/>
                  <a:pt x="9609" y="11595"/>
                </a:cubicBezTo>
                <a:lnTo>
                  <a:pt x="9609" y="12004"/>
                </a:lnTo>
                <a:lnTo>
                  <a:pt x="2993" y="12004"/>
                </a:lnTo>
                <a:lnTo>
                  <a:pt x="2993" y="11595"/>
                </a:lnTo>
                <a:lnTo>
                  <a:pt x="3025" y="11595"/>
                </a:lnTo>
                <a:cubicBezTo>
                  <a:pt x="3025" y="11343"/>
                  <a:pt x="3214" y="11154"/>
                  <a:pt x="3435" y="11154"/>
                </a:cubicBezTo>
                <a:close/>
                <a:moveTo>
                  <a:pt x="6333" y="1"/>
                </a:moveTo>
                <a:cubicBezTo>
                  <a:pt x="6144" y="1"/>
                  <a:pt x="5955" y="190"/>
                  <a:pt x="5955" y="442"/>
                </a:cubicBezTo>
                <a:lnTo>
                  <a:pt x="5955" y="883"/>
                </a:lnTo>
                <a:lnTo>
                  <a:pt x="5514" y="883"/>
                </a:lnTo>
                <a:cubicBezTo>
                  <a:pt x="5262" y="883"/>
                  <a:pt x="5104" y="1072"/>
                  <a:pt x="5104" y="1261"/>
                </a:cubicBezTo>
                <a:cubicBezTo>
                  <a:pt x="5104" y="1513"/>
                  <a:pt x="5325" y="1702"/>
                  <a:pt x="5514" y="1702"/>
                </a:cubicBezTo>
                <a:lnTo>
                  <a:pt x="5955" y="1702"/>
                </a:lnTo>
                <a:lnTo>
                  <a:pt x="5955" y="2521"/>
                </a:lnTo>
                <a:lnTo>
                  <a:pt x="5356" y="2521"/>
                </a:lnTo>
                <a:cubicBezTo>
                  <a:pt x="4695" y="2521"/>
                  <a:pt x="4222" y="3183"/>
                  <a:pt x="4443" y="3813"/>
                </a:cubicBezTo>
                <a:cubicBezTo>
                  <a:pt x="4537" y="4034"/>
                  <a:pt x="4569" y="4254"/>
                  <a:pt x="4632" y="4443"/>
                </a:cubicBezTo>
                <a:lnTo>
                  <a:pt x="4285" y="4443"/>
                </a:lnTo>
                <a:cubicBezTo>
                  <a:pt x="4065" y="4443"/>
                  <a:pt x="3907" y="4664"/>
                  <a:pt x="3907" y="4884"/>
                </a:cubicBezTo>
                <a:cubicBezTo>
                  <a:pt x="3907" y="5136"/>
                  <a:pt x="4096" y="5325"/>
                  <a:pt x="4285" y="5325"/>
                </a:cubicBezTo>
                <a:lnTo>
                  <a:pt x="4726" y="5325"/>
                </a:lnTo>
                <a:cubicBezTo>
                  <a:pt x="4821" y="6901"/>
                  <a:pt x="4191" y="7846"/>
                  <a:pt x="3718" y="8791"/>
                </a:cubicBezTo>
                <a:cubicBezTo>
                  <a:pt x="3308" y="8980"/>
                  <a:pt x="3025" y="9421"/>
                  <a:pt x="3025" y="9893"/>
                </a:cubicBezTo>
                <a:lnTo>
                  <a:pt x="3025" y="10366"/>
                </a:lnTo>
                <a:cubicBezTo>
                  <a:pt x="2552" y="10524"/>
                  <a:pt x="2206" y="10996"/>
                  <a:pt x="2206" y="11532"/>
                </a:cubicBezTo>
                <a:lnTo>
                  <a:pt x="2206" y="11973"/>
                </a:lnTo>
                <a:lnTo>
                  <a:pt x="442" y="11973"/>
                </a:lnTo>
                <a:cubicBezTo>
                  <a:pt x="189" y="11973"/>
                  <a:pt x="0" y="12162"/>
                  <a:pt x="0" y="12382"/>
                </a:cubicBezTo>
                <a:cubicBezTo>
                  <a:pt x="0" y="12603"/>
                  <a:pt x="158" y="12792"/>
                  <a:pt x="379" y="12792"/>
                </a:cubicBezTo>
                <a:lnTo>
                  <a:pt x="12256" y="12792"/>
                </a:lnTo>
                <a:cubicBezTo>
                  <a:pt x="12476" y="12792"/>
                  <a:pt x="12697" y="12603"/>
                  <a:pt x="12697" y="12382"/>
                </a:cubicBezTo>
                <a:cubicBezTo>
                  <a:pt x="12697" y="12130"/>
                  <a:pt x="12476" y="11973"/>
                  <a:pt x="12256" y="11973"/>
                </a:cubicBezTo>
                <a:lnTo>
                  <a:pt x="10460" y="11973"/>
                </a:lnTo>
                <a:lnTo>
                  <a:pt x="10460" y="11532"/>
                </a:lnTo>
                <a:cubicBezTo>
                  <a:pt x="10460" y="10996"/>
                  <a:pt x="10114" y="10555"/>
                  <a:pt x="9641" y="10366"/>
                </a:cubicBezTo>
                <a:lnTo>
                  <a:pt x="9641" y="9893"/>
                </a:lnTo>
                <a:cubicBezTo>
                  <a:pt x="9641" y="9421"/>
                  <a:pt x="9357" y="8980"/>
                  <a:pt x="8979" y="8791"/>
                </a:cubicBezTo>
                <a:cubicBezTo>
                  <a:pt x="8507" y="7877"/>
                  <a:pt x="7877" y="6932"/>
                  <a:pt x="7940" y="5325"/>
                </a:cubicBezTo>
                <a:lnTo>
                  <a:pt x="8381" y="5325"/>
                </a:lnTo>
                <a:cubicBezTo>
                  <a:pt x="8633" y="5325"/>
                  <a:pt x="8790" y="5136"/>
                  <a:pt x="8790" y="4884"/>
                </a:cubicBezTo>
                <a:cubicBezTo>
                  <a:pt x="8790" y="4664"/>
                  <a:pt x="8570" y="4443"/>
                  <a:pt x="8381" y="4443"/>
                </a:cubicBezTo>
                <a:lnTo>
                  <a:pt x="8034" y="4443"/>
                </a:lnTo>
                <a:cubicBezTo>
                  <a:pt x="8066" y="4254"/>
                  <a:pt x="8160" y="4034"/>
                  <a:pt x="8223" y="3813"/>
                </a:cubicBezTo>
                <a:cubicBezTo>
                  <a:pt x="8475" y="3183"/>
                  <a:pt x="8003" y="2521"/>
                  <a:pt x="7310" y="2521"/>
                </a:cubicBezTo>
                <a:lnTo>
                  <a:pt x="6743" y="2521"/>
                </a:lnTo>
                <a:lnTo>
                  <a:pt x="6743" y="1702"/>
                </a:lnTo>
                <a:lnTo>
                  <a:pt x="7184" y="1702"/>
                </a:lnTo>
                <a:cubicBezTo>
                  <a:pt x="7404" y="1702"/>
                  <a:pt x="7562" y="1513"/>
                  <a:pt x="7562" y="1261"/>
                </a:cubicBezTo>
                <a:cubicBezTo>
                  <a:pt x="7562" y="1041"/>
                  <a:pt x="7373" y="883"/>
                  <a:pt x="7184" y="883"/>
                </a:cubicBezTo>
                <a:lnTo>
                  <a:pt x="6743" y="883"/>
                </a:lnTo>
                <a:lnTo>
                  <a:pt x="6743" y="442"/>
                </a:lnTo>
                <a:cubicBezTo>
                  <a:pt x="6743" y="190"/>
                  <a:pt x="6522" y="1"/>
                  <a:pt x="6333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0" name="Google Shape;361;p78">
            <a:extLst>
              <a:ext uri="{FF2B5EF4-FFF2-40B4-BE49-F238E27FC236}">
                <a16:creationId xmlns:a16="http://schemas.microsoft.com/office/drawing/2014/main" id="{FFE4F5BD-62C5-4294-8637-064EB4E125FA}"/>
              </a:ext>
            </a:extLst>
          </p:cNvPr>
          <p:cNvSpPr/>
          <p:nvPr/>
        </p:nvSpPr>
        <p:spPr>
          <a:xfrm rot="21182511">
            <a:off x="5160944" y="2091291"/>
            <a:ext cx="5873749" cy="3730860"/>
          </a:xfrm>
          <a:prstGeom prst="hexagon">
            <a:avLst>
              <a:gd name="adj" fmla="val 25000"/>
              <a:gd name="vf" fmla="val 115470"/>
            </a:avLst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9" name="Google Shape;341;p77">
            <a:extLst>
              <a:ext uri="{FF2B5EF4-FFF2-40B4-BE49-F238E27FC236}">
                <a16:creationId xmlns:a16="http://schemas.microsoft.com/office/drawing/2014/main" id="{F96C6E4E-892C-444E-8793-8616CD6F41B7}"/>
              </a:ext>
            </a:extLst>
          </p:cNvPr>
          <p:cNvPicPr preferRelativeResize="0"/>
          <p:nvPr/>
        </p:nvPicPr>
        <p:blipFill>
          <a:blip r:embed="rId40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1366CC13-1D4E-4513-9A80-C18BEE4BBCDB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89AFCE4-4904-49A4-8FCE-AA8588275E4F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2" name="Graphic 41" descr="Video camera with solid fill">
              <a:extLst>
                <a:ext uri="{FF2B5EF4-FFF2-40B4-BE49-F238E27FC236}">
                  <a16:creationId xmlns:a16="http://schemas.microsoft.com/office/drawing/2014/main" id="{BFE32D8B-E21B-490F-A78F-6FE3C658BB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12C569-7614-44C0-A5E9-280F51B95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384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12C569-7614-44C0-A5E9-280F51B95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7" name="Google Shape;367;p79"/>
          <p:cNvSpPr txBox="1">
            <a:spLocks noGrp="1"/>
          </p:cNvSpPr>
          <p:nvPr>
            <p:ph type="ctrTitle"/>
          </p:nvPr>
        </p:nvSpPr>
        <p:spPr>
          <a:xfrm flipH="1">
            <a:off x="2029191" y="1970175"/>
            <a:ext cx="6000899" cy="8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hu-HU" sz="3000" dirty="0"/>
              <a:t>3. DELIVERABLES &amp; WHY US?</a:t>
            </a:r>
            <a:endParaRPr sz="3000" dirty="0"/>
          </a:p>
        </p:txBody>
      </p:sp>
      <p:sp>
        <p:nvSpPr>
          <p:cNvPr id="369" name="Google Shape;369;p79"/>
          <p:cNvSpPr/>
          <p:nvPr/>
        </p:nvSpPr>
        <p:spPr>
          <a:xfrm>
            <a:off x="-4393055" y="-485625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Google Shape;341;p77">
            <a:extLst>
              <a:ext uri="{FF2B5EF4-FFF2-40B4-BE49-F238E27FC236}">
                <a16:creationId xmlns:a16="http://schemas.microsoft.com/office/drawing/2014/main" id="{8BF3F94C-6416-4D84-80C0-F29FF3F40ECB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DBECD9F-D83F-4C99-BAFE-8F3F3ADC2DE4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A3AFF55-DC3E-45E0-9BAD-75FD511E0ADA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Graphic 7" descr="Video camera with solid fill">
              <a:extLst>
                <a:ext uri="{FF2B5EF4-FFF2-40B4-BE49-F238E27FC236}">
                  <a16:creationId xmlns:a16="http://schemas.microsoft.com/office/drawing/2014/main" id="{4E330A5D-E0EC-4C0E-9EAE-A032BC6A4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1604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D4B199-3EB6-4CD4-8908-10191AA778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162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7" name="Google Shape;467;p88"/>
          <p:cNvSpPr/>
          <p:nvPr/>
        </p:nvSpPr>
        <p:spPr>
          <a:xfrm>
            <a:off x="0" y="275150"/>
            <a:ext cx="6355830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asy integration along four requirements </a:t>
            </a:r>
          </a:p>
        </p:txBody>
      </p:sp>
      <p:pic>
        <p:nvPicPr>
          <p:cNvPr id="476" name="Google Shape;476;p88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3272830" y="398058"/>
            <a:ext cx="1727750" cy="17277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A2910D9E-2FB2-486B-8882-C6DBBF31A114}"/>
              </a:ext>
            </a:extLst>
          </p:cNvPr>
          <p:cNvGrpSpPr/>
          <p:nvPr/>
        </p:nvGrpSpPr>
        <p:grpSpPr>
          <a:xfrm>
            <a:off x="542474" y="1099568"/>
            <a:ext cx="7405909" cy="3508341"/>
            <a:chOff x="732948" y="1099568"/>
            <a:chExt cx="7405909" cy="350834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542D9B9-73E3-408E-B9DA-93277CEF72FA}"/>
                </a:ext>
              </a:extLst>
            </p:cNvPr>
            <p:cNvGrpSpPr/>
            <p:nvPr/>
          </p:nvGrpSpPr>
          <p:grpSpPr>
            <a:xfrm>
              <a:off x="732948" y="1099568"/>
              <a:ext cx="3508340" cy="3508341"/>
              <a:chOff x="732948" y="1099568"/>
              <a:chExt cx="3508340" cy="3508341"/>
            </a:xfrm>
          </p:grpSpPr>
          <p:sp>
            <p:nvSpPr>
              <p:cNvPr id="9" name="Block Arc 8">
                <a:extLst>
                  <a:ext uri="{FF2B5EF4-FFF2-40B4-BE49-F238E27FC236}">
                    <a16:creationId xmlns:a16="http://schemas.microsoft.com/office/drawing/2014/main" id="{AEDB261F-2A9E-40C2-8903-6AE416BB21C2}"/>
                  </a:ext>
                </a:extLst>
              </p:cNvPr>
              <p:cNvSpPr/>
              <p:nvPr/>
            </p:nvSpPr>
            <p:spPr>
              <a:xfrm>
                <a:off x="1136318" y="1502939"/>
                <a:ext cx="2701599" cy="2701599"/>
              </a:xfrm>
              <a:prstGeom prst="blockArc">
                <a:avLst>
                  <a:gd name="adj1" fmla="val 10800000"/>
                  <a:gd name="adj2" fmla="val 16200000"/>
                  <a:gd name="adj3" fmla="val 4634"/>
                </a:avLst>
              </a:prstGeom>
            </p:spPr>
            <p:style>
              <a:ln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" name="Block Arc 9">
                <a:extLst>
                  <a:ext uri="{FF2B5EF4-FFF2-40B4-BE49-F238E27FC236}">
                    <a16:creationId xmlns:a16="http://schemas.microsoft.com/office/drawing/2014/main" id="{38CB68E6-B510-488E-A076-1C21E90730E0}"/>
                  </a:ext>
                </a:extLst>
              </p:cNvPr>
              <p:cNvSpPr/>
              <p:nvPr/>
            </p:nvSpPr>
            <p:spPr>
              <a:xfrm>
                <a:off x="1136318" y="1502939"/>
                <a:ext cx="2701599" cy="2701599"/>
              </a:xfrm>
              <a:prstGeom prst="blockArc">
                <a:avLst>
                  <a:gd name="adj1" fmla="val 5400000"/>
                  <a:gd name="adj2" fmla="val 10800000"/>
                  <a:gd name="adj3" fmla="val 4634"/>
                </a:avLst>
              </a:prstGeom>
            </p:spPr>
            <p:style>
              <a:ln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" name="Block Arc 10">
                <a:extLst>
                  <a:ext uri="{FF2B5EF4-FFF2-40B4-BE49-F238E27FC236}">
                    <a16:creationId xmlns:a16="http://schemas.microsoft.com/office/drawing/2014/main" id="{93E2A2CA-B26C-476A-BE8C-9D82C1742776}"/>
                  </a:ext>
                </a:extLst>
              </p:cNvPr>
              <p:cNvSpPr/>
              <p:nvPr/>
            </p:nvSpPr>
            <p:spPr>
              <a:xfrm>
                <a:off x="1136318" y="1502939"/>
                <a:ext cx="2701599" cy="2701599"/>
              </a:xfrm>
              <a:prstGeom prst="blockArc">
                <a:avLst>
                  <a:gd name="adj1" fmla="val 0"/>
                  <a:gd name="adj2" fmla="val 5400000"/>
                  <a:gd name="adj3" fmla="val 4634"/>
                </a:avLst>
              </a:prstGeom>
            </p:spPr>
            <p:style>
              <a:ln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" name="Block Arc 11">
                <a:extLst>
                  <a:ext uri="{FF2B5EF4-FFF2-40B4-BE49-F238E27FC236}">
                    <a16:creationId xmlns:a16="http://schemas.microsoft.com/office/drawing/2014/main" id="{BEEC5C39-86DF-4B77-BBA5-71AD246C6808}"/>
                  </a:ext>
                </a:extLst>
              </p:cNvPr>
              <p:cNvSpPr/>
              <p:nvPr/>
            </p:nvSpPr>
            <p:spPr>
              <a:xfrm>
                <a:off x="1136318" y="1502939"/>
                <a:ext cx="2701599" cy="2701599"/>
              </a:xfrm>
              <a:prstGeom prst="blockArc">
                <a:avLst>
                  <a:gd name="adj1" fmla="val 16200000"/>
                  <a:gd name="adj2" fmla="val 0"/>
                  <a:gd name="adj3" fmla="val 4634"/>
                </a:avLst>
              </a:prstGeom>
            </p:spPr>
            <p:style>
              <a:ln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DA6D5C87-CA5A-4FF3-A6DD-1FFA2152CA3D}"/>
                  </a:ext>
                </a:extLst>
              </p:cNvPr>
              <p:cNvSpPr/>
              <p:nvPr/>
            </p:nvSpPr>
            <p:spPr>
              <a:xfrm>
                <a:off x="1866166" y="2232786"/>
                <a:ext cx="1241904" cy="1241904"/>
              </a:xfrm>
              <a:custGeom>
                <a:avLst/>
                <a:gdLst>
                  <a:gd name="connsiteX0" fmla="*/ 0 w 1241904"/>
                  <a:gd name="connsiteY0" fmla="*/ 620952 h 1241904"/>
                  <a:gd name="connsiteX1" fmla="*/ 620952 w 1241904"/>
                  <a:gd name="connsiteY1" fmla="*/ 0 h 1241904"/>
                  <a:gd name="connsiteX2" fmla="*/ 1241904 w 1241904"/>
                  <a:gd name="connsiteY2" fmla="*/ 620952 h 1241904"/>
                  <a:gd name="connsiteX3" fmla="*/ 620952 w 1241904"/>
                  <a:gd name="connsiteY3" fmla="*/ 1241904 h 1241904"/>
                  <a:gd name="connsiteX4" fmla="*/ 0 w 1241904"/>
                  <a:gd name="connsiteY4" fmla="*/ 620952 h 1241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1904" h="1241904">
                    <a:moveTo>
                      <a:pt x="0" y="620952"/>
                    </a:moveTo>
                    <a:cubicBezTo>
                      <a:pt x="0" y="278010"/>
                      <a:pt x="278010" y="0"/>
                      <a:pt x="620952" y="0"/>
                    </a:cubicBezTo>
                    <a:cubicBezTo>
                      <a:pt x="963894" y="0"/>
                      <a:pt x="1241904" y="278010"/>
                      <a:pt x="1241904" y="620952"/>
                    </a:cubicBezTo>
                    <a:cubicBezTo>
                      <a:pt x="1241904" y="963894"/>
                      <a:pt x="963894" y="1241904"/>
                      <a:pt x="620952" y="1241904"/>
                    </a:cubicBezTo>
                    <a:cubicBezTo>
                      <a:pt x="278010" y="1241904"/>
                      <a:pt x="0" y="963894"/>
                      <a:pt x="0" y="620952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93303" tIns="193303" rIns="193303" bIns="193303" numCol="1" spcCol="1270" anchor="ctr" anchorCtr="0">
                <a:noAutofit/>
              </a:bodyPr>
              <a:lstStyle/>
              <a:p>
                <a:pPr marL="0" lvl="0" indent="0" algn="ctr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9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Fast and easy implementation</a:t>
                </a: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04D998CD-B3DB-43AB-9BE1-44AC1B655CCE}"/>
                  </a:ext>
                </a:extLst>
              </p:cNvPr>
              <p:cNvSpPr/>
              <p:nvPr/>
            </p:nvSpPr>
            <p:spPr>
              <a:xfrm>
                <a:off x="2052451" y="1099568"/>
                <a:ext cx="869333" cy="869333"/>
              </a:xfrm>
              <a:custGeom>
                <a:avLst/>
                <a:gdLst>
                  <a:gd name="connsiteX0" fmla="*/ 0 w 869333"/>
                  <a:gd name="connsiteY0" fmla="*/ 434667 h 869333"/>
                  <a:gd name="connsiteX1" fmla="*/ 434667 w 869333"/>
                  <a:gd name="connsiteY1" fmla="*/ 0 h 869333"/>
                  <a:gd name="connsiteX2" fmla="*/ 869334 w 869333"/>
                  <a:gd name="connsiteY2" fmla="*/ 434667 h 869333"/>
                  <a:gd name="connsiteX3" fmla="*/ 434667 w 869333"/>
                  <a:gd name="connsiteY3" fmla="*/ 869334 h 869333"/>
                  <a:gd name="connsiteX4" fmla="*/ 0 w 869333"/>
                  <a:gd name="connsiteY4" fmla="*/ 434667 h 869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333" h="869333">
                    <a:moveTo>
                      <a:pt x="0" y="434667"/>
                    </a:moveTo>
                    <a:cubicBezTo>
                      <a:pt x="0" y="194607"/>
                      <a:pt x="194607" y="0"/>
                      <a:pt x="434667" y="0"/>
                    </a:cubicBezTo>
                    <a:cubicBezTo>
                      <a:pt x="674727" y="0"/>
                      <a:pt x="869334" y="194607"/>
                      <a:pt x="869334" y="434667"/>
                    </a:cubicBezTo>
                    <a:cubicBezTo>
                      <a:pt x="869334" y="674727"/>
                      <a:pt x="674727" y="869334"/>
                      <a:pt x="434667" y="869334"/>
                    </a:cubicBezTo>
                    <a:cubicBezTo>
                      <a:pt x="194607" y="869334"/>
                      <a:pt x="0" y="674727"/>
                      <a:pt x="0" y="434667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7471" tIns="137471" rIns="137471" bIns="137471" numCol="1" spcCol="1270" anchor="ctr" anchorCtr="0">
                <a:noAutofit/>
              </a:bodyPr>
              <a:lstStyle/>
              <a:p>
                <a:pPr marL="0" lvl="0" indent="0"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8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Digitizable application form</a:t>
                </a: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ED90425E-79DE-4BE0-B02C-FAF91A832639}"/>
                  </a:ext>
                </a:extLst>
              </p:cNvPr>
              <p:cNvSpPr/>
              <p:nvPr/>
            </p:nvSpPr>
            <p:spPr>
              <a:xfrm>
                <a:off x="3371955" y="2419072"/>
                <a:ext cx="869333" cy="869333"/>
              </a:xfrm>
              <a:custGeom>
                <a:avLst/>
                <a:gdLst>
                  <a:gd name="connsiteX0" fmla="*/ 0 w 869333"/>
                  <a:gd name="connsiteY0" fmla="*/ 434667 h 869333"/>
                  <a:gd name="connsiteX1" fmla="*/ 434667 w 869333"/>
                  <a:gd name="connsiteY1" fmla="*/ 0 h 869333"/>
                  <a:gd name="connsiteX2" fmla="*/ 869334 w 869333"/>
                  <a:gd name="connsiteY2" fmla="*/ 434667 h 869333"/>
                  <a:gd name="connsiteX3" fmla="*/ 434667 w 869333"/>
                  <a:gd name="connsiteY3" fmla="*/ 869334 h 869333"/>
                  <a:gd name="connsiteX4" fmla="*/ 0 w 869333"/>
                  <a:gd name="connsiteY4" fmla="*/ 434667 h 869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333" h="869333">
                    <a:moveTo>
                      <a:pt x="0" y="434667"/>
                    </a:moveTo>
                    <a:cubicBezTo>
                      <a:pt x="0" y="194607"/>
                      <a:pt x="194607" y="0"/>
                      <a:pt x="434667" y="0"/>
                    </a:cubicBezTo>
                    <a:cubicBezTo>
                      <a:pt x="674727" y="0"/>
                      <a:pt x="869334" y="194607"/>
                      <a:pt x="869334" y="434667"/>
                    </a:cubicBezTo>
                    <a:cubicBezTo>
                      <a:pt x="869334" y="674727"/>
                      <a:pt x="674727" y="869334"/>
                      <a:pt x="434667" y="869334"/>
                    </a:cubicBezTo>
                    <a:cubicBezTo>
                      <a:pt x="194607" y="869334"/>
                      <a:pt x="0" y="674727"/>
                      <a:pt x="0" y="434667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7471" tIns="137471" rIns="137471" bIns="137471" numCol="1" spcCol="1270" anchor="ctr" anchorCtr="0">
                <a:noAutofit/>
              </a:bodyPr>
              <a:lstStyle/>
              <a:p>
                <a:pPr marL="0" lvl="0" indent="0"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8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Data consistency checks</a:t>
                </a: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BC9246D6-9885-4DC4-8864-B65A59FA6F1C}"/>
                  </a:ext>
                </a:extLst>
              </p:cNvPr>
              <p:cNvSpPr/>
              <p:nvPr/>
            </p:nvSpPr>
            <p:spPr>
              <a:xfrm>
                <a:off x="2052451" y="3738576"/>
                <a:ext cx="869333" cy="869333"/>
              </a:xfrm>
              <a:custGeom>
                <a:avLst/>
                <a:gdLst>
                  <a:gd name="connsiteX0" fmla="*/ 0 w 869333"/>
                  <a:gd name="connsiteY0" fmla="*/ 434667 h 869333"/>
                  <a:gd name="connsiteX1" fmla="*/ 434667 w 869333"/>
                  <a:gd name="connsiteY1" fmla="*/ 0 h 869333"/>
                  <a:gd name="connsiteX2" fmla="*/ 869334 w 869333"/>
                  <a:gd name="connsiteY2" fmla="*/ 434667 h 869333"/>
                  <a:gd name="connsiteX3" fmla="*/ 434667 w 869333"/>
                  <a:gd name="connsiteY3" fmla="*/ 869334 h 869333"/>
                  <a:gd name="connsiteX4" fmla="*/ 0 w 869333"/>
                  <a:gd name="connsiteY4" fmla="*/ 434667 h 869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333" h="869333">
                    <a:moveTo>
                      <a:pt x="0" y="434667"/>
                    </a:moveTo>
                    <a:cubicBezTo>
                      <a:pt x="0" y="194607"/>
                      <a:pt x="194607" y="0"/>
                      <a:pt x="434667" y="0"/>
                    </a:cubicBezTo>
                    <a:cubicBezTo>
                      <a:pt x="674727" y="0"/>
                      <a:pt x="869334" y="194607"/>
                      <a:pt x="869334" y="434667"/>
                    </a:cubicBezTo>
                    <a:cubicBezTo>
                      <a:pt x="869334" y="674727"/>
                      <a:pt x="674727" y="869334"/>
                      <a:pt x="434667" y="869334"/>
                    </a:cubicBezTo>
                    <a:cubicBezTo>
                      <a:pt x="194607" y="869334"/>
                      <a:pt x="0" y="674727"/>
                      <a:pt x="0" y="434667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7471" tIns="137471" rIns="137471" bIns="137471" numCol="1" spcCol="1270" anchor="ctr" anchorCtr="0">
                <a:noAutofit/>
              </a:bodyPr>
              <a:lstStyle/>
              <a:p>
                <a:pPr marL="0" lvl="0" indent="0"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8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Inexpensive processing environment</a:t>
                </a: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E77C1F9D-F2B2-4BF8-B127-28DB46C74D84}"/>
                  </a:ext>
                </a:extLst>
              </p:cNvPr>
              <p:cNvSpPr/>
              <p:nvPr/>
            </p:nvSpPr>
            <p:spPr>
              <a:xfrm>
                <a:off x="732948" y="2419072"/>
                <a:ext cx="869333" cy="869333"/>
              </a:xfrm>
              <a:custGeom>
                <a:avLst/>
                <a:gdLst>
                  <a:gd name="connsiteX0" fmla="*/ 0 w 869333"/>
                  <a:gd name="connsiteY0" fmla="*/ 434667 h 869333"/>
                  <a:gd name="connsiteX1" fmla="*/ 434667 w 869333"/>
                  <a:gd name="connsiteY1" fmla="*/ 0 h 869333"/>
                  <a:gd name="connsiteX2" fmla="*/ 869334 w 869333"/>
                  <a:gd name="connsiteY2" fmla="*/ 434667 h 869333"/>
                  <a:gd name="connsiteX3" fmla="*/ 434667 w 869333"/>
                  <a:gd name="connsiteY3" fmla="*/ 869334 h 869333"/>
                  <a:gd name="connsiteX4" fmla="*/ 0 w 869333"/>
                  <a:gd name="connsiteY4" fmla="*/ 434667 h 869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333" h="869333">
                    <a:moveTo>
                      <a:pt x="0" y="434667"/>
                    </a:moveTo>
                    <a:cubicBezTo>
                      <a:pt x="0" y="194607"/>
                      <a:pt x="194607" y="0"/>
                      <a:pt x="434667" y="0"/>
                    </a:cubicBezTo>
                    <a:cubicBezTo>
                      <a:pt x="674727" y="0"/>
                      <a:pt x="869334" y="194607"/>
                      <a:pt x="869334" y="434667"/>
                    </a:cubicBezTo>
                    <a:cubicBezTo>
                      <a:pt x="869334" y="674727"/>
                      <a:pt x="674727" y="869334"/>
                      <a:pt x="434667" y="869334"/>
                    </a:cubicBezTo>
                    <a:cubicBezTo>
                      <a:pt x="194607" y="869334"/>
                      <a:pt x="0" y="674727"/>
                      <a:pt x="0" y="434667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7471" tIns="137471" rIns="137471" bIns="137471" numCol="1" spcCol="1270" anchor="ctr" anchorCtr="0">
                <a:noAutofit/>
              </a:bodyPr>
              <a:lstStyle/>
              <a:p>
                <a:pPr marL="0" lvl="0" indent="0"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8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redit processor assignment</a:t>
                </a:r>
                <a:r>
                  <a:rPr lang="en-US" sz="800" kern="120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 system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4D1D096-1747-4E42-B280-047853A13DDC}"/>
                </a:ext>
              </a:extLst>
            </p:cNvPr>
            <p:cNvGrpSpPr/>
            <p:nvPr/>
          </p:nvGrpSpPr>
          <p:grpSpPr>
            <a:xfrm>
              <a:off x="4652941" y="1099568"/>
              <a:ext cx="3485916" cy="3474302"/>
              <a:chOff x="4652941" y="1099568"/>
              <a:chExt cx="3485916" cy="3474302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4954195-738A-4AFA-9C5A-EF2265EA9BF4}"/>
                  </a:ext>
                </a:extLst>
              </p:cNvPr>
              <p:cNvSpPr txBox="1"/>
              <p:nvPr/>
            </p:nvSpPr>
            <p:spPr>
              <a:xfrm>
                <a:off x="4652942" y="1099568"/>
                <a:ext cx="3485915" cy="20313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We will deliver:</a:t>
                </a:r>
              </a:p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utting-edge default probability prediction model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Risk classification model </a:t>
                </a:r>
                <a:r>
                  <a:rPr lang="en-US" dirty="0" err="1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optimised</a:t>
                </a: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 to your workfor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redit application form templat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Training materials for IT personnel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5 years of software support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323CFE-B9EF-4485-A85F-A2FB7124F33C}"/>
                  </a:ext>
                </a:extLst>
              </p:cNvPr>
              <p:cNvSpPr txBox="1"/>
              <p:nvPr/>
            </p:nvSpPr>
            <p:spPr>
              <a:xfrm>
                <a:off x="4652941" y="3188875"/>
                <a:ext cx="3485915" cy="1384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Universal </a:t>
                </a:r>
                <a:r>
                  <a:rPr lang="hu-HU" b="1" dirty="0" err="1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Plu</a:t>
                </a:r>
                <a:r>
                  <a:rPr lang="en-US" b="1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s</a:t>
                </a:r>
                <a:r>
                  <a:rPr lang="hu-HU" b="1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’</a:t>
                </a:r>
                <a:r>
                  <a:rPr lang="en-US" b="1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 role</a:t>
                </a:r>
              </a:p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Provide processing environment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Engage HR and IT teams to implement an efficient credit processing assignment system</a:t>
                </a: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46835D2-6260-43CD-A0E8-80BE00820323}"/>
              </a:ext>
            </a:extLst>
          </p:cNvPr>
          <p:cNvGrpSpPr/>
          <p:nvPr/>
        </p:nvGrpSpPr>
        <p:grpSpPr>
          <a:xfrm>
            <a:off x="2462897" y="912949"/>
            <a:ext cx="536825" cy="520435"/>
            <a:chOff x="3683372" y="1175618"/>
            <a:chExt cx="536825" cy="520435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79ED9401-A98B-4EAE-AD0B-1A122E3284F5}"/>
                </a:ext>
              </a:extLst>
            </p:cNvPr>
            <p:cNvSpPr/>
            <p:nvPr/>
          </p:nvSpPr>
          <p:spPr>
            <a:xfrm>
              <a:off x="3683372" y="1175618"/>
              <a:ext cx="536825" cy="520435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oogle Shape;4928;p133">
              <a:extLst>
                <a:ext uri="{FF2B5EF4-FFF2-40B4-BE49-F238E27FC236}">
                  <a16:creationId xmlns:a16="http://schemas.microsoft.com/office/drawing/2014/main" id="{A055E42B-F5D4-44C0-B019-85216991DDDF}"/>
                </a:ext>
              </a:extLst>
            </p:cNvPr>
            <p:cNvGrpSpPr/>
            <p:nvPr/>
          </p:nvGrpSpPr>
          <p:grpSpPr>
            <a:xfrm>
              <a:off x="3777500" y="1264579"/>
              <a:ext cx="348568" cy="342514"/>
              <a:chOff x="-60988625" y="2310475"/>
              <a:chExt cx="316650" cy="311150"/>
            </a:xfrm>
          </p:grpSpPr>
          <p:sp>
            <p:nvSpPr>
              <p:cNvPr id="34" name="Google Shape;4929;p133">
                <a:extLst>
                  <a:ext uri="{FF2B5EF4-FFF2-40B4-BE49-F238E27FC236}">
                    <a16:creationId xmlns:a16="http://schemas.microsoft.com/office/drawing/2014/main" id="{8189D946-19BE-4478-B0AB-218CDBDC215C}"/>
                  </a:ext>
                </a:extLst>
              </p:cNvPr>
              <p:cNvSpPr/>
              <p:nvPr/>
            </p:nvSpPr>
            <p:spPr>
              <a:xfrm>
                <a:off x="-60988625" y="2310475"/>
                <a:ext cx="311125" cy="311150"/>
              </a:xfrm>
              <a:custGeom>
                <a:avLst/>
                <a:gdLst/>
                <a:ahLst/>
                <a:cxnLst/>
                <a:rect l="l" t="t" r="r" b="b"/>
                <a:pathLst>
                  <a:path w="12445" h="12446" extrusionOk="0">
                    <a:moveTo>
                      <a:pt x="7877" y="883"/>
                    </a:moveTo>
                    <a:cubicBezTo>
                      <a:pt x="8097" y="883"/>
                      <a:pt x="8318" y="1072"/>
                      <a:pt x="8318" y="1324"/>
                    </a:cubicBezTo>
                    <a:lnTo>
                      <a:pt x="8318" y="10398"/>
                    </a:lnTo>
                    <a:cubicBezTo>
                      <a:pt x="8318" y="10870"/>
                      <a:pt x="8444" y="11311"/>
                      <a:pt x="8727" y="11626"/>
                    </a:cubicBezTo>
                    <a:lnTo>
                      <a:pt x="2111" y="11626"/>
                    </a:lnTo>
                    <a:cubicBezTo>
                      <a:pt x="1450" y="11626"/>
                      <a:pt x="851" y="11091"/>
                      <a:pt x="851" y="10398"/>
                    </a:cubicBezTo>
                    <a:lnTo>
                      <a:pt x="851" y="1324"/>
                    </a:lnTo>
                    <a:lnTo>
                      <a:pt x="820" y="1324"/>
                    </a:lnTo>
                    <a:cubicBezTo>
                      <a:pt x="820" y="1072"/>
                      <a:pt x="1009" y="883"/>
                      <a:pt x="1261" y="883"/>
                    </a:cubicBezTo>
                    <a:close/>
                    <a:moveTo>
                      <a:pt x="11500" y="10807"/>
                    </a:moveTo>
                    <a:cubicBezTo>
                      <a:pt x="11342" y="11280"/>
                      <a:pt x="10870" y="11626"/>
                      <a:pt x="10303" y="11626"/>
                    </a:cubicBezTo>
                    <a:cubicBezTo>
                      <a:pt x="9767" y="11626"/>
                      <a:pt x="9326" y="11280"/>
                      <a:pt x="9137" y="10807"/>
                    </a:cubicBezTo>
                    <a:close/>
                    <a:moveTo>
                      <a:pt x="1261" y="1"/>
                    </a:moveTo>
                    <a:cubicBezTo>
                      <a:pt x="568" y="1"/>
                      <a:pt x="32" y="568"/>
                      <a:pt x="32" y="1230"/>
                    </a:cubicBezTo>
                    <a:lnTo>
                      <a:pt x="32" y="10334"/>
                    </a:lnTo>
                    <a:cubicBezTo>
                      <a:pt x="0" y="11563"/>
                      <a:pt x="946" y="12445"/>
                      <a:pt x="2080" y="12445"/>
                    </a:cubicBezTo>
                    <a:lnTo>
                      <a:pt x="10334" y="12445"/>
                    </a:lnTo>
                    <a:cubicBezTo>
                      <a:pt x="11500" y="12445"/>
                      <a:pt x="12445" y="11500"/>
                      <a:pt x="12445" y="10366"/>
                    </a:cubicBezTo>
                    <a:cubicBezTo>
                      <a:pt x="12445" y="10145"/>
                      <a:pt x="12224" y="9925"/>
                      <a:pt x="12004" y="9925"/>
                    </a:cubicBezTo>
                    <a:lnTo>
                      <a:pt x="9074" y="9925"/>
                    </a:lnTo>
                    <a:lnTo>
                      <a:pt x="9074" y="1230"/>
                    </a:lnTo>
                    <a:cubicBezTo>
                      <a:pt x="9074" y="568"/>
                      <a:pt x="8538" y="1"/>
                      <a:pt x="7877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Google Shape;4930;p133">
                <a:extLst>
                  <a:ext uri="{FF2B5EF4-FFF2-40B4-BE49-F238E27FC236}">
                    <a16:creationId xmlns:a16="http://schemas.microsoft.com/office/drawing/2014/main" id="{B18E2473-4944-4E22-BA95-08F1B7A8143C}"/>
                  </a:ext>
                </a:extLst>
              </p:cNvPr>
              <p:cNvSpPr/>
              <p:nvPr/>
            </p:nvSpPr>
            <p:spPr>
              <a:xfrm>
                <a:off x="-60947675" y="2353025"/>
                <a:ext cx="14572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20" extrusionOk="0">
                    <a:moveTo>
                      <a:pt x="442" y="0"/>
                    </a:moveTo>
                    <a:cubicBezTo>
                      <a:pt x="190" y="0"/>
                      <a:pt x="1" y="189"/>
                      <a:pt x="1" y="441"/>
                    </a:cubicBezTo>
                    <a:cubicBezTo>
                      <a:pt x="1" y="630"/>
                      <a:pt x="190" y="819"/>
                      <a:pt x="442" y="819"/>
                    </a:cubicBezTo>
                    <a:lnTo>
                      <a:pt x="5388" y="819"/>
                    </a:lnTo>
                    <a:cubicBezTo>
                      <a:pt x="5640" y="819"/>
                      <a:pt x="5829" y="630"/>
                      <a:pt x="5829" y="441"/>
                    </a:cubicBezTo>
                    <a:cubicBezTo>
                      <a:pt x="5829" y="189"/>
                      <a:pt x="5640" y="0"/>
                      <a:pt x="538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Google Shape;4931;p133">
                <a:extLst>
                  <a:ext uri="{FF2B5EF4-FFF2-40B4-BE49-F238E27FC236}">
                    <a16:creationId xmlns:a16="http://schemas.microsoft.com/office/drawing/2014/main" id="{BC3FD60A-95C1-4B46-AC6C-3C07E0597D2F}"/>
                  </a:ext>
                </a:extLst>
              </p:cNvPr>
              <p:cNvSpPr/>
              <p:nvPr/>
            </p:nvSpPr>
            <p:spPr>
              <a:xfrm>
                <a:off x="-60947675" y="2415250"/>
                <a:ext cx="14572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20" extrusionOk="0">
                    <a:moveTo>
                      <a:pt x="442" y="0"/>
                    </a:moveTo>
                    <a:cubicBezTo>
                      <a:pt x="190" y="0"/>
                      <a:pt x="1" y="189"/>
                      <a:pt x="1" y="378"/>
                    </a:cubicBezTo>
                    <a:cubicBezTo>
                      <a:pt x="1" y="630"/>
                      <a:pt x="190" y="819"/>
                      <a:pt x="442" y="819"/>
                    </a:cubicBezTo>
                    <a:lnTo>
                      <a:pt x="5388" y="819"/>
                    </a:lnTo>
                    <a:cubicBezTo>
                      <a:pt x="5640" y="819"/>
                      <a:pt x="5829" y="630"/>
                      <a:pt x="5829" y="378"/>
                    </a:cubicBezTo>
                    <a:cubicBezTo>
                      <a:pt x="5829" y="158"/>
                      <a:pt x="5640" y="0"/>
                      <a:pt x="538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Google Shape;4932;p133">
                <a:extLst>
                  <a:ext uri="{FF2B5EF4-FFF2-40B4-BE49-F238E27FC236}">
                    <a16:creationId xmlns:a16="http://schemas.microsoft.com/office/drawing/2014/main" id="{787D8D2E-18C2-4D72-8848-F33762397641}"/>
                  </a:ext>
                </a:extLst>
              </p:cNvPr>
              <p:cNvSpPr/>
              <p:nvPr/>
            </p:nvSpPr>
            <p:spPr>
              <a:xfrm>
                <a:off x="-60947675" y="2475875"/>
                <a:ext cx="145725" cy="221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84" extrusionOk="0">
                    <a:moveTo>
                      <a:pt x="442" y="1"/>
                    </a:moveTo>
                    <a:cubicBezTo>
                      <a:pt x="190" y="1"/>
                      <a:pt x="1" y="221"/>
                      <a:pt x="1" y="442"/>
                    </a:cubicBezTo>
                    <a:cubicBezTo>
                      <a:pt x="1" y="694"/>
                      <a:pt x="190" y="883"/>
                      <a:pt x="442" y="883"/>
                    </a:cubicBezTo>
                    <a:lnTo>
                      <a:pt x="5388" y="883"/>
                    </a:lnTo>
                    <a:cubicBezTo>
                      <a:pt x="5640" y="883"/>
                      <a:pt x="5829" y="694"/>
                      <a:pt x="5829" y="442"/>
                    </a:cubicBezTo>
                    <a:cubicBezTo>
                      <a:pt x="5829" y="221"/>
                      <a:pt x="5640" y="1"/>
                      <a:pt x="5388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Google Shape;4933;p133">
                <a:extLst>
                  <a:ext uri="{FF2B5EF4-FFF2-40B4-BE49-F238E27FC236}">
                    <a16:creationId xmlns:a16="http://schemas.microsoft.com/office/drawing/2014/main" id="{01E212E5-4591-4827-8300-88CAD58BC2AC}"/>
                  </a:ext>
                </a:extLst>
              </p:cNvPr>
              <p:cNvSpPr/>
              <p:nvPr/>
            </p:nvSpPr>
            <p:spPr>
              <a:xfrm>
                <a:off x="-60947675" y="2538100"/>
                <a:ext cx="145725" cy="22075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83" extrusionOk="0">
                    <a:moveTo>
                      <a:pt x="442" y="1"/>
                    </a:moveTo>
                    <a:cubicBezTo>
                      <a:pt x="190" y="1"/>
                      <a:pt x="1" y="190"/>
                      <a:pt x="1" y="442"/>
                    </a:cubicBezTo>
                    <a:cubicBezTo>
                      <a:pt x="1" y="662"/>
                      <a:pt x="190" y="883"/>
                      <a:pt x="442" y="883"/>
                    </a:cubicBezTo>
                    <a:lnTo>
                      <a:pt x="5388" y="883"/>
                    </a:lnTo>
                    <a:cubicBezTo>
                      <a:pt x="5640" y="883"/>
                      <a:pt x="5829" y="662"/>
                      <a:pt x="5829" y="442"/>
                    </a:cubicBezTo>
                    <a:cubicBezTo>
                      <a:pt x="5829" y="190"/>
                      <a:pt x="5640" y="1"/>
                      <a:pt x="5388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Google Shape;4934;p133">
                <a:extLst>
                  <a:ext uri="{FF2B5EF4-FFF2-40B4-BE49-F238E27FC236}">
                    <a16:creationId xmlns:a16="http://schemas.microsoft.com/office/drawing/2014/main" id="{BC33ADC9-50F0-48A1-9B43-DFF259189317}"/>
                  </a:ext>
                </a:extLst>
              </p:cNvPr>
              <p:cNvSpPr/>
              <p:nvPr/>
            </p:nvSpPr>
            <p:spPr>
              <a:xfrm>
                <a:off x="-60740525" y="2312050"/>
                <a:ext cx="68550" cy="233950"/>
              </a:xfrm>
              <a:custGeom>
                <a:avLst/>
                <a:gdLst/>
                <a:ahLst/>
                <a:cxnLst/>
                <a:rect l="l" t="t" r="r" b="b"/>
                <a:pathLst>
                  <a:path w="2742" h="9358" extrusionOk="0">
                    <a:moveTo>
                      <a:pt x="1796" y="789"/>
                    </a:moveTo>
                    <a:cubicBezTo>
                      <a:pt x="1891" y="789"/>
                      <a:pt x="1922" y="852"/>
                      <a:pt x="1922" y="946"/>
                    </a:cubicBezTo>
                    <a:lnTo>
                      <a:pt x="1922" y="1639"/>
                    </a:lnTo>
                    <a:lnTo>
                      <a:pt x="820" y="1639"/>
                    </a:lnTo>
                    <a:lnTo>
                      <a:pt x="820" y="946"/>
                    </a:lnTo>
                    <a:cubicBezTo>
                      <a:pt x="820" y="852"/>
                      <a:pt x="883" y="789"/>
                      <a:pt x="977" y="789"/>
                    </a:cubicBezTo>
                    <a:close/>
                    <a:moveTo>
                      <a:pt x="1922" y="2458"/>
                    </a:moveTo>
                    <a:lnTo>
                      <a:pt x="1922" y="6617"/>
                    </a:lnTo>
                    <a:lnTo>
                      <a:pt x="820" y="6617"/>
                    </a:lnTo>
                    <a:lnTo>
                      <a:pt x="820" y="2458"/>
                    </a:lnTo>
                    <a:close/>
                    <a:moveTo>
                      <a:pt x="1639" y="7436"/>
                    </a:moveTo>
                    <a:lnTo>
                      <a:pt x="1355" y="8035"/>
                    </a:lnTo>
                    <a:lnTo>
                      <a:pt x="1040" y="7436"/>
                    </a:lnTo>
                    <a:close/>
                    <a:moveTo>
                      <a:pt x="977" y="1"/>
                    </a:moveTo>
                    <a:cubicBezTo>
                      <a:pt x="410" y="1"/>
                      <a:pt x="1" y="410"/>
                      <a:pt x="1" y="946"/>
                    </a:cubicBezTo>
                    <a:lnTo>
                      <a:pt x="1" y="6995"/>
                    </a:lnTo>
                    <a:cubicBezTo>
                      <a:pt x="1" y="7090"/>
                      <a:pt x="1" y="7121"/>
                      <a:pt x="32" y="7184"/>
                    </a:cubicBezTo>
                    <a:lnTo>
                      <a:pt x="1009" y="9137"/>
                    </a:lnTo>
                    <a:cubicBezTo>
                      <a:pt x="1103" y="9295"/>
                      <a:pt x="1198" y="9358"/>
                      <a:pt x="1355" y="9358"/>
                    </a:cubicBezTo>
                    <a:cubicBezTo>
                      <a:pt x="1513" y="9358"/>
                      <a:pt x="1670" y="9295"/>
                      <a:pt x="1733" y="9137"/>
                    </a:cubicBezTo>
                    <a:lnTo>
                      <a:pt x="2678" y="7184"/>
                    </a:lnTo>
                    <a:cubicBezTo>
                      <a:pt x="2710" y="7153"/>
                      <a:pt x="2710" y="7090"/>
                      <a:pt x="2710" y="6995"/>
                    </a:cubicBezTo>
                    <a:lnTo>
                      <a:pt x="2710" y="946"/>
                    </a:lnTo>
                    <a:cubicBezTo>
                      <a:pt x="2741" y="410"/>
                      <a:pt x="2300" y="1"/>
                      <a:pt x="1796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63BC916-06C6-4F3F-B9D1-935A1C1FBA3F}"/>
              </a:ext>
            </a:extLst>
          </p:cNvPr>
          <p:cNvGrpSpPr/>
          <p:nvPr/>
        </p:nvGrpSpPr>
        <p:grpSpPr>
          <a:xfrm>
            <a:off x="3777874" y="2250199"/>
            <a:ext cx="536825" cy="520435"/>
            <a:chOff x="3907972" y="2158854"/>
            <a:chExt cx="536825" cy="520435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114D0AD-7400-4F39-8FFF-DB133274BF3C}"/>
                </a:ext>
              </a:extLst>
            </p:cNvPr>
            <p:cNvSpPr/>
            <p:nvPr/>
          </p:nvSpPr>
          <p:spPr>
            <a:xfrm>
              <a:off x="3907972" y="2158854"/>
              <a:ext cx="536825" cy="520435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0" name="Google Shape;6499;p136">
              <a:extLst>
                <a:ext uri="{FF2B5EF4-FFF2-40B4-BE49-F238E27FC236}">
                  <a16:creationId xmlns:a16="http://schemas.microsoft.com/office/drawing/2014/main" id="{57082800-937A-4EF2-B69A-1799FE84578B}"/>
                </a:ext>
              </a:extLst>
            </p:cNvPr>
            <p:cNvGrpSpPr/>
            <p:nvPr/>
          </p:nvGrpSpPr>
          <p:grpSpPr>
            <a:xfrm>
              <a:off x="4027066" y="2246653"/>
              <a:ext cx="298638" cy="344837"/>
              <a:chOff x="-39783425" y="2337925"/>
              <a:chExt cx="275700" cy="318350"/>
            </a:xfrm>
          </p:grpSpPr>
          <p:sp>
            <p:nvSpPr>
              <p:cNvPr id="41" name="Google Shape;6500;p136">
                <a:extLst>
                  <a:ext uri="{FF2B5EF4-FFF2-40B4-BE49-F238E27FC236}">
                    <a16:creationId xmlns:a16="http://schemas.microsoft.com/office/drawing/2014/main" id="{C2D8D1F8-D593-4655-8CCB-EE886FFFEC02}"/>
                  </a:ext>
                </a:extLst>
              </p:cNvPr>
              <p:cNvSpPr/>
              <p:nvPr/>
            </p:nvSpPr>
            <p:spPr>
              <a:xfrm>
                <a:off x="-39739325" y="2468600"/>
                <a:ext cx="194575" cy="148500"/>
              </a:xfrm>
              <a:custGeom>
                <a:avLst/>
                <a:gdLst/>
                <a:ahLst/>
                <a:cxnLst/>
                <a:rect l="l" t="t" r="r" b="b"/>
                <a:pathLst>
                  <a:path w="7783" h="5940" extrusionOk="0">
                    <a:moveTo>
                      <a:pt x="6349" y="772"/>
                    </a:moveTo>
                    <a:cubicBezTo>
                      <a:pt x="6459" y="772"/>
                      <a:pt x="6570" y="812"/>
                      <a:pt x="6648" y="891"/>
                    </a:cubicBezTo>
                    <a:cubicBezTo>
                      <a:pt x="6711" y="954"/>
                      <a:pt x="6743" y="1017"/>
                      <a:pt x="6806" y="1080"/>
                    </a:cubicBezTo>
                    <a:cubicBezTo>
                      <a:pt x="6837" y="1300"/>
                      <a:pt x="6837" y="1458"/>
                      <a:pt x="6711" y="1552"/>
                    </a:cubicBezTo>
                    <a:lnTo>
                      <a:pt x="3340" y="4955"/>
                    </a:lnTo>
                    <a:cubicBezTo>
                      <a:pt x="3261" y="5033"/>
                      <a:pt x="3151" y="5073"/>
                      <a:pt x="3041" y="5073"/>
                    </a:cubicBezTo>
                    <a:cubicBezTo>
                      <a:pt x="2931" y="5073"/>
                      <a:pt x="2820" y="5033"/>
                      <a:pt x="2742" y="4955"/>
                    </a:cubicBezTo>
                    <a:lnTo>
                      <a:pt x="1040" y="3253"/>
                    </a:lnTo>
                    <a:cubicBezTo>
                      <a:pt x="883" y="3096"/>
                      <a:pt x="883" y="2812"/>
                      <a:pt x="1040" y="2655"/>
                    </a:cubicBezTo>
                    <a:lnTo>
                      <a:pt x="1135" y="2592"/>
                    </a:lnTo>
                    <a:cubicBezTo>
                      <a:pt x="1214" y="2513"/>
                      <a:pt x="1316" y="2474"/>
                      <a:pt x="1418" y="2474"/>
                    </a:cubicBezTo>
                    <a:cubicBezTo>
                      <a:pt x="1521" y="2474"/>
                      <a:pt x="1623" y="2513"/>
                      <a:pt x="1702" y="2592"/>
                    </a:cubicBezTo>
                    <a:lnTo>
                      <a:pt x="2742" y="3600"/>
                    </a:lnTo>
                    <a:cubicBezTo>
                      <a:pt x="2820" y="3679"/>
                      <a:pt x="2931" y="3718"/>
                      <a:pt x="3041" y="3718"/>
                    </a:cubicBezTo>
                    <a:cubicBezTo>
                      <a:pt x="3151" y="3718"/>
                      <a:pt x="3261" y="3679"/>
                      <a:pt x="3340" y="3600"/>
                    </a:cubicBezTo>
                    <a:lnTo>
                      <a:pt x="6050" y="891"/>
                    </a:lnTo>
                    <a:cubicBezTo>
                      <a:pt x="6128" y="812"/>
                      <a:pt x="6239" y="772"/>
                      <a:pt x="6349" y="772"/>
                    </a:cubicBezTo>
                    <a:close/>
                    <a:moveTo>
                      <a:pt x="6369" y="1"/>
                    </a:moveTo>
                    <a:cubicBezTo>
                      <a:pt x="6050" y="1"/>
                      <a:pt x="5719" y="119"/>
                      <a:pt x="5451" y="355"/>
                    </a:cubicBezTo>
                    <a:lnTo>
                      <a:pt x="3025" y="2781"/>
                    </a:lnTo>
                    <a:lnTo>
                      <a:pt x="2269" y="2025"/>
                    </a:lnTo>
                    <a:cubicBezTo>
                      <a:pt x="2040" y="1796"/>
                      <a:pt x="1742" y="1663"/>
                      <a:pt x="1421" y="1663"/>
                    </a:cubicBezTo>
                    <a:cubicBezTo>
                      <a:pt x="1256" y="1663"/>
                      <a:pt x="1085" y="1698"/>
                      <a:pt x="914" y="1773"/>
                    </a:cubicBezTo>
                    <a:cubicBezTo>
                      <a:pt x="694" y="1867"/>
                      <a:pt x="536" y="1993"/>
                      <a:pt x="473" y="2119"/>
                    </a:cubicBezTo>
                    <a:cubicBezTo>
                      <a:pt x="1" y="2592"/>
                      <a:pt x="1" y="3379"/>
                      <a:pt x="473" y="3883"/>
                    </a:cubicBezTo>
                    <a:lnTo>
                      <a:pt x="2143" y="5585"/>
                    </a:lnTo>
                    <a:cubicBezTo>
                      <a:pt x="2379" y="5821"/>
                      <a:pt x="2694" y="5939"/>
                      <a:pt x="3017" y="5939"/>
                    </a:cubicBezTo>
                    <a:cubicBezTo>
                      <a:pt x="3340" y="5939"/>
                      <a:pt x="3671" y="5821"/>
                      <a:pt x="3939" y="5585"/>
                    </a:cubicBezTo>
                    <a:lnTo>
                      <a:pt x="7310" y="2182"/>
                    </a:lnTo>
                    <a:cubicBezTo>
                      <a:pt x="7656" y="1836"/>
                      <a:pt x="7782" y="1300"/>
                      <a:pt x="7593" y="859"/>
                    </a:cubicBezTo>
                    <a:cubicBezTo>
                      <a:pt x="7467" y="575"/>
                      <a:pt x="7310" y="418"/>
                      <a:pt x="7215" y="355"/>
                    </a:cubicBezTo>
                    <a:cubicBezTo>
                      <a:pt x="6995" y="119"/>
                      <a:pt x="6688" y="1"/>
                      <a:pt x="6369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2" name="Google Shape;6501;p136">
                <a:extLst>
                  <a:ext uri="{FF2B5EF4-FFF2-40B4-BE49-F238E27FC236}">
                    <a16:creationId xmlns:a16="http://schemas.microsoft.com/office/drawing/2014/main" id="{B4913B79-5BAE-41A0-901E-E68CF718C311}"/>
                  </a:ext>
                </a:extLst>
              </p:cNvPr>
              <p:cNvSpPr/>
              <p:nvPr/>
            </p:nvSpPr>
            <p:spPr>
              <a:xfrm>
                <a:off x="-39783425" y="2337925"/>
                <a:ext cx="275700" cy="318350"/>
              </a:xfrm>
              <a:custGeom>
                <a:avLst/>
                <a:gdLst/>
                <a:ahLst/>
                <a:cxnLst/>
                <a:rect l="l" t="t" r="r" b="b"/>
                <a:pathLst>
                  <a:path w="11028" h="12734" extrusionOk="0">
                    <a:moveTo>
                      <a:pt x="5608" y="793"/>
                    </a:moveTo>
                    <a:cubicBezTo>
                      <a:pt x="5829" y="793"/>
                      <a:pt x="5986" y="1014"/>
                      <a:pt x="6049" y="1234"/>
                    </a:cubicBezTo>
                    <a:cubicBezTo>
                      <a:pt x="6049" y="1486"/>
                      <a:pt x="6238" y="1644"/>
                      <a:pt x="6459" y="1644"/>
                    </a:cubicBezTo>
                    <a:lnTo>
                      <a:pt x="8129" y="1644"/>
                    </a:lnTo>
                    <a:cubicBezTo>
                      <a:pt x="8349" y="1644"/>
                      <a:pt x="8507" y="1833"/>
                      <a:pt x="8570" y="2053"/>
                    </a:cubicBezTo>
                    <a:lnTo>
                      <a:pt x="8570" y="2494"/>
                    </a:lnTo>
                    <a:lnTo>
                      <a:pt x="2773" y="2494"/>
                    </a:lnTo>
                    <a:lnTo>
                      <a:pt x="2773" y="2116"/>
                    </a:lnTo>
                    <a:lnTo>
                      <a:pt x="2741" y="2116"/>
                    </a:lnTo>
                    <a:cubicBezTo>
                      <a:pt x="2741" y="1864"/>
                      <a:pt x="2930" y="1707"/>
                      <a:pt x="3119" y="1675"/>
                    </a:cubicBezTo>
                    <a:lnTo>
                      <a:pt x="4789" y="1675"/>
                    </a:lnTo>
                    <a:cubicBezTo>
                      <a:pt x="5010" y="1675"/>
                      <a:pt x="5167" y="1486"/>
                      <a:pt x="5167" y="1234"/>
                    </a:cubicBezTo>
                    <a:cubicBezTo>
                      <a:pt x="5167" y="1014"/>
                      <a:pt x="5356" y="856"/>
                      <a:pt x="5608" y="793"/>
                    </a:cubicBezTo>
                    <a:close/>
                    <a:moveTo>
                      <a:pt x="10177" y="2494"/>
                    </a:moveTo>
                    <a:lnTo>
                      <a:pt x="10177" y="11883"/>
                    </a:lnTo>
                    <a:lnTo>
                      <a:pt x="788" y="11883"/>
                    </a:lnTo>
                    <a:lnTo>
                      <a:pt x="788" y="2494"/>
                    </a:lnTo>
                    <a:lnTo>
                      <a:pt x="1891" y="2494"/>
                    </a:lnTo>
                    <a:lnTo>
                      <a:pt x="1891" y="2904"/>
                    </a:lnTo>
                    <a:cubicBezTo>
                      <a:pt x="1891" y="3125"/>
                      <a:pt x="2111" y="3314"/>
                      <a:pt x="2332" y="3314"/>
                    </a:cubicBezTo>
                    <a:lnTo>
                      <a:pt x="8948" y="3314"/>
                    </a:lnTo>
                    <a:cubicBezTo>
                      <a:pt x="9200" y="3314"/>
                      <a:pt x="9357" y="3125"/>
                      <a:pt x="9357" y="2904"/>
                    </a:cubicBezTo>
                    <a:lnTo>
                      <a:pt x="9357" y="2494"/>
                    </a:lnTo>
                    <a:close/>
                    <a:moveTo>
                      <a:pt x="5615" y="1"/>
                    </a:moveTo>
                    <a:cubicBezTo>
                      <a:pt x="5456" y="1"/>
                      <a:pt x="5293" y="33"/>
                      <a:pt x="5136" y="100"/>
                    </a:cubicBezTo>
                    <a:cubicBezTo>
                      <a:pt x="4821" y="226"/>
                      <a:pt x="4537" y="478"/>
                      <a:pt x="4474" y="856"/>
                    </a:cubicBezTo>
                    <a:lnTo>
                      <a:pt x="3151" y="856"/>
                    </a:lnTo>
                    <a:cubicBezTo>
                      <a:pt x="2647" y="856"/>
                      <a:pt x="2174" y="1203"/>
                      <a:pt x="1985" y="1675"/>
                    </a:cubicBezTo>
                    <a:lnTo>
                      <a:pt x="410" y="1675"/>
                    </a:lnTo>
                    <a:cubicBezTo>
                      <a:pt x="158" y="1675"/>
                      <a:pt x="0" y="1864"/>
                      <a:pt x="0" y="2116"/>
                    </a:cubicBezTo>
                    <a:lnTo>
                      <a:pt x="0" y="12292"/>
                    </a:lnTo>
                    <a:cubicBezTo>
                      <a:pt x="0" y="12544"/>
                      <a:pt x="221" y="12734"/>
                      <a:pt x="410" y="12734"/>
                    </a:cubicBezTo>
                    <a:lnTo>
                      <a:pt x="10618" y="12734"/>
                    </a:lnTo>
                    <a:cubicBezTo>
                      <a:pt x="10838" y="12734"/>
                      <a:pt x="11027" y="12544"/>
                      <a:pt x="11027" y="12292"/>
                    </a:cubicBezTo>
                    <a:lnTo>
                      <a:pt x="11027" y="2116"/>
                    </a:lnTo>
                    <a:cubicBezTo>
                      <a:pt x="10996" y="1864"/>
                      <a:pt x="10807" y="1675"/>
                      <a:pt x="10555" y="1675"/>
                    </a:cubicBezTo>
                    <a:lnTo>
                      <a:pt x="9263" y="1675"/>
                    </a:lnTo>
                    <a:cubicBezTo>
                      <a:pt x="9105" y="1203"/>
                      <a:pt x="8633" y="856"/>
                      <a:pt x="8097" y="856"/>
                    </a:cubicBezTo>
                    <a:lnTo>
                      <a:pt x="6774" y="856"/>
                    </a:lnTo>
                    <a:cubicBezTo>
                      <a:pt x="6606" y="328"/>
                      <a:pt x="6127" y="1"/>
                      <a:pt x="5615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B86E7B-DCB8-473C-BA7C-1F5FBB4087F6}"/>
              </a:ext>
            </a:extLst>
          </p:cNvPr>
          <p:cNvGrpSpPr/>
          <p:nvPr/>
        </p:nvGrpSpPr>
        <p:grpSpPr>
          <a:xfrm>
            <a:off x="2459855" y="3537615"/>
            <a:ext cx="536825" cy="520435"/>
            <a:chOff x="2969841" y="3765069"/>
            <a:chExt cx="536825" cy="520435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BC4F311F-9EEF-4447-9EA4-D35E665F3980}"/>
                </a:ext>
              </a:extLst>
            </p:cNvPr>
            <p:cNvSpPr/>
            <p:nvPr/>
          </p:nvSpPr>
          <p:spPr>
            <a:xfrm>
              <a:off x="2969841" y="3765069"/>
              <a:ext cx="536825" cy="520435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3" name="Google Shape;4884;p133">
              <a:extLst>
                <a:ext uri="{FF2B5EF4-FFF2-40B4-BE49-F238E27FC236}">
                  <a16:creationId xmlns:a16="http://schemas.microsoft.com/office/drawing/2014/main" id="{C92E8E01-4AD3-4D16-AB7C-950CAE75D5E6}"/>
                </a:ext>
              </a:extLst>
            </p:cNvPr>
            <p:cNvGrpSpPr/>
            <p:nvPr/>
          </p:nvGrpSpPr>
          <p:grpSpPr>
            <a:xfrm>
              <a:off x="3062676" y="3849695"/>
              <a:ext cx="351155" cy="351183"/>
              <a:chOff x="-63252250" y="1930850"/>
              <a:chExt cx="319000" cy="319025"/>
            </a:xfrm>
          </p:grpSpPr>
          <p:sp>
            <p:nvSpPr>
              <p:cNvPr id="44" name="Google Shape;4885;p133">
                <a:extLst>
                  <a:ext uri="{FF2B5EF4-FFF2-40B4-BE49-F238E27FC236}">
                    <a16:creationId xmlns:a16="http://schemas.microsoft.com/office/drawing/2014/main" id="{0BF86EC2-435F-44AF-8839-E107E9D580C2}"/>
                  </a:ext>
                </a:extLst>
              </p:cNvPr>
              <p:cNvSpPr/>
              <p:nvPr/>
            </p:nvSpPr>
            <p:spPr>
              <a:xfrm>
                <a:off x="-63252250" y="1930850"/>
                <a:ext cx="319000" cy="319025"/>
              </a:xfrm>
              <a:custGeom>
                <a:avLst/>
                <a:gdLst/>
                <a:ahLst/>
                <a:cxnLst/>
                <a:rect l="l" t="t" r="r" b="b"/>
                <a:pathLst>
                  <a:path w="12760" h="12761" extrusionOk="0">
                    <a:moveTo>
                      <a:pt x="7026" y="914"/>
                    </a:moveTo>
                    <a:lnTo>
                      <a:pt x="7026" y="1954"/>
                    </a:lnTo>
                    <a:cubicBezTo>
                      <a:pt x="7026" y="2174"/>
                      <a:pt x="7120" y="2332"/>
                      <a:pt x="7341" y="2363"/>
                    </a:cubicBezTo>
                    <a:cubicBezTo>
                      <a:pt x="7813" y="2489"/>
                      <a:pt x="8286" y="2647"/>
                      <a:pt x="8664" y="2899"/>
                    </a:cubicBezTo>
                    <a:cubicBezTo>
                      <a:pt x="8733" y="2954"/>
                      <a:pt x="8820" y="2979"/>
                      <a:pt x="8905" y="2979"/>
                    </a:cubicBezTo>
                    <a:cubicBezTo>
                      <a:pt x="9012" y="2979"/>
                      <a:pt x="9115" y="2938"/>
                      <a:pt x="9168" y="2868"/>
                    </a:cubicBezTo>
                    <a:lnTo>
                      <a:pt x="9924" y="2111"/>
                    </a:lnTo>
                    <a:lnTo>
                      <a:pt x="10712" y="2899"/>
                    </a:lnTo>
                    <a:lnTo>
                      <a:pt x="9956" y="3655"/>
                    </a:lnTo>
                    <a:cubicBezTo>
                      <a:pt x="9861" y="3781"/>
                      <a:pt x="9798" y="4002"/>
                      <a:pt x="9924" y="4159"/>
                    </a:cubicBezTo>
                    <a:cubicBezTo>
                      <a:pt x="10208" y="4600"/>
                      <a:pt x="10397" y="5041"/>
                      <a:pt x="10460" y="5514"/>
                    </a:cubicBezTo>
                    <a:cubicBezTo>
                      <a:pt x="10523" y="5703"/>
                      <a:pt x="10680" y="5829"/>
                      <a:pt x="10869" y="5829"/>
                    </a:cubicBezTo>
                    <a:lnTo>
                      <a:pt x="11941" y="5829"/>
                    </a:lnTo>
                    <a:lnTo>
                      <a:pt x="11941" y="6932"/>
                    </a:lnTo>
                    <a:lnTo>
                      <a:pt x="10869" y="6932"/>
                    </a:lnTo>
                    <a:cubicBezTo>
                      <a:pt x="10680" y="6932"/>
                      <a:pt x="10523" y="7058"/>
                      <a:pt x="10460" y="7247"/>
                    </a:cubicBezTo>
                    <a:cubicBezTo>
                      <a:pt x="10365" y="7719"/>
                      <a:pt x="10208" y="8192"/>
                      <a:pt x="9924" y="8570"/>
                    </a:cubicBezTo>
                    <a:cubicBezTo>
                      <a:pt x="9798" y="8727"/>
                      <a:pt x="9861" y="8979"/>
                      <a:pt x="9956" y="9105"/>
                    </a:cubicBezTo>
                    <a:lnTo>
                      <a:pt x="10712" y="9830"/>
                    </a:lnTo>
                    <a:lnTo>
                      <a:pt x="9924" y="10618"/>
                    </a:lnTo>
                    <a:lnTo>
                      <a:pt x="9168" y="9893"/>
                    </a:lnTo>
                    <a:cubicBezTo>
                      <a:pt x="9111" y="9817"/>
                      <a:pt x="8996" y="9775"/>
                      <a:pt x="8879" y="9775"/>
                    </a:cubicBezTo>
                    <a:cubicBezTo>
                      <a:pt x="8803" y="9775"/>
                      <a:pt x="8726" y="9793"/>
                      <a:pt x="8664" y="9830"/>
                    </a:cubicBezTo>
                    <a:cubicBezTo>
                      <a:pt x="8223" y="10114"/>
                      <a:pt x="7813" y="10303"/>
                      <a:pt x="7341" y="10397"/>
                    </a:cubicBezTo>
                    <a:cubicBezTo>
                      <a:pt x="7120" y="10429"/>
                      <a:pt x="7026" y="10586"/>
                      <a:pt x="7026" y="10775"/>
                    </a:cubicBezTo>
                    <a:lnTo>
                      <a:pt x="7026" y="11846"/>
                    </a:lnTo>
                    <a:lnTo>
                      <a:pt x="5923" y="11846"/>
                    </a:lnTo>
                    <a:lnTo>
                      <a:pt x="5923" y="10775"/>
                    </a:lnTo>
                    <a:cubicBezTo>
                      <a:pt x="5923" y="10586"/>
                      <a:pt x="5797" y="10429"/>
                      <a:pt x="5577" y="10397"/>
                    </a:cubicBezTo>
                    <a:cubicBezTo>
                      <a:pt x="5135" y="10271"/>
                      <a:pt x="4663" y="10114"/>
                      <a:pt x="4253" y="9830"/>
                    </a:cubicBezTo>
                    <a:cubicBezTo>
                      <a:pt x="4191" y="9793"/>
                      <a:pt x="4119" y="9775"/>
                      <a:pt x="4047" y="9775"/>
                    </a:cubicBezTo>
                    <a:cubicBezTo>
                      <a:pt x="3937" y="9775"/>
                      <a:pt x="3826" y="9817"/>
                      <a:pt x="3749" y="9893"/>
                    </a:cubicBezTo>
                    <a:lnTo>
                      <a:pt x="2993" y="10618"/>
                    </a:lnTo>
                    <a:lnTo>
                      <a:pt x="2206" y="9830"/>
                    </a:lnTo>
                    <a:lnTo>
                      <a:pt x="2962" y="9105"/>
                    </a:lnTo>
                    <a:cubicBezTo>
                      <a:pt x="3088" y="8979"/>
                      <a:pt x="3119" y="8727"/>
                      <a:pt x="2993" y="8570"/>
                    </a:cubicBezTo>
                    <a:cubicBezTo>
                      <a:pt x="2710" y="8160"/>
                      <a:pt x="2521" y="7719"/>
                      <a:pt x="2458" y="7247"/>
                    </a:cubicBezTo>
                    <a:cubicBezTo>
                      <a:pt x="2395" y="7058"/>
                      <a:pt x="2237" y="6932"/>
                      <a:pt x="2048" y="6932"/>
                    </a:cubicBezTo>
                    <a:lnTo>
                      <a:pt x="977" y="6932"/>
                    </a:lnTo>
                    <a:lnTo>
                      <a:pt x="977" y="5829"/>
                    </a:lnTo>
                    <a:lnTo>
                      <a:pt x="2048" y="5829"/>
                    </a:lnTo>
                    <a:cubicBezTo>
                      <a:pt x="2237" y="5829"/>
                      <a:pt x="2395" y="5703"/>
                      <a:pt x="2458" y="5514"/>
                    </a:cubicBezTo>
                    <a:cubicBezTo>
                      <a:pt x="2552" y="5041"/>
                      <a:pt x="2710" y="4569"/>
                      <a:pt x="2993" y="4159"/>
                    </a:cubicBezTo>
                    <a:cubicBezTo>
                      <a:pt x="3119" y="4002"/>
                      <a:pt x="3088" y="3781"/>
                      <a:pt x="2962" y="3655"/>
                    </a:cubicBezTo>
                    <a:lnTo>
                      <a:pt x="2206" y="2899"/>
                    </a:lnTo>
                    <a:lnTo>
                      <a:pt x="2993" y="2111"/>
                    </a:lnTo>
                    <a:lnTo>
                      <a:pt x="3749" y="2868"/>
                    </a:lnTo>
                    <a:cubicBezTo>
                      <a:pt x="3820" y="2938"/>
                      <a:pt x="3921" y="2979"/>
                      <a:pt x="4023" y="2979"/>
                    </a:cubicBezTo>
                    <a:cubicBezTo>
                      <a:pt x="4103" y="2979"/>
                      <a:pt x="4184" y="2954"/>
                      <a:pt x="4253" y="2899"/>
                    </a:cubicBezTo>
                    <a:cubicBezTo>
                      <a:pt x="4694" y="2647"/>
                      <a:pt x="5135" y="2426"/>
                      <a:pt x="5577" y="2363"/>
                    </a:cubicBezTo>
                    <a:cubicBezTo>
                      <a:pt x="5797" y="2332"/>
                      <a:pt x="5923" y="2174"/>
                      <a:pt x="5923" y="1954"/>
                    </a:cubicBezTo>
                    <a:lnTo>
                      <a:pt x="5923" y="914"/>
                    </a:lnTo>
                    <a:close/>
                    <a:moveTo>
                      <a:pt x="5829" y="1"/>
                    </a:moveTo>
                    <a:cubicBezTo>
                      <a:pt x="5356" y="1"/>
                      <a:pt x="5009" y="347"/>
                      <a:pt x="5009" y="820"/>
                    </a:cubicBezTo>
                    <a:lnTo>
                      <a:pt x="5009" y="1576"/>
                    </a:lnTo>
                    <a:cubicBezTo>
                      <a:pt x="4631" y="1702"/>
                      <a:pt x="4285" y="1796"/>
                      <a:pt x="3970" y="2017"/>
                    </a:cubicBezTo>
                    <a:lnTo>
                      <a:pt x="3466" y="1481"/>
                    </a:lnTo>
                    <a:cubicBezTo>
                      <a:pt x="3308" y="1324"/>
                      <a:pt x="3103" y="1245"/>
                      <a:pt x="2891" y="1245"/>
                    </a:cubicBezTo>
                    <a:cubicBezTo>
                      <a:pt x="2678" y="1245"/>
                      <a:pt x="2458" y="1324"/>
                      <a:pt x="2269" y="1481"/>
                    </a:cubicBezTo>
                    <a:lnTo>
                      <a:pt x="1481" y="2269"/>
                    </a:lnTo>
                    <a:cubicBezTo>
                      <a:pt x="1166" y="2584"/>
                      <a:pt x="1166" y="3120"/>
                      <a:pt x="1481" y="3466"/>
                    </a:cubicBezTo>
                    <a:lnTo>
                      <a:pt x="2017" y="3970"/>
                    </a:lnTo>
                    <a:cubicBezTo>
                      <a:pt x="1796" y="4285"/>
                      <a:pt x="1701" y="4632"/>
                      <a:pt x="1575" y="5010"/>
                    </a:cubicBezTo>
                    <a:lnTo>
                      <a:pt x="819" y="5010"/>
                    </a:lnTo>
                    <a:cubicBezTo>
                      <a:pt x="347" y="5010"/>
                      <a:pt x="0" y="5356"/>
                      <a:pt x="0" y="5829"/>
                    </a:cubicBezTo>
                    <a:lnTo>
                      <a:pt x="0" y="6932"/>
                    </a:lnTo>
                    <a:cubicBezTo>
                      <a:pt x="0" y="7404"/>
                      <a:pt x="347" y="7751"/>
                      <a:pt x="819" y="7751"/>
                    </a:cubicBezTo>
                    <a:lnTo>
                      <a:pt x="1575" y="7751"/>
                    </a:lnTo>
                    <a:cubicBezTo>
                      <a:pt x="1701" y="8097"/>
                      <a:pt x="1796" y="8475"/>
                      <a:pt x="2017" y="8759"/>
                    </a:cubicBezTo>
                    <a:lnTo>
                      <a:pt x="1481" y="9295"/>
                    </a:lnTo>
                    <a:cubicBezTo>
                      <a:pt x="1166" y="9610"/>
                      <a:pt x="1166" y="10114"/>
                      <a:pt x="1481" y="10460"/>
                    </a:cubicBezTo>
                    <a:lnTo>
                      <a:pt x="2269" y="11248"/>
                    </a:lnTo>
                    <a:cubicBezTo>
                      <a:pt x="2426" y="11405"/>
                      <a:pt x="2639" y="11484"/>
                      <a:pt x="2855" y="11484"/>
                    </a:cubicBezTo>
                    <a:cubicBezTo>
                      <a:pt x="3072" y="11484"/>
                      <a:pt x="3292" y="11405"/>
                      <a:pt x="3466" y="11248"/>
                    </a:cubicBezTo>
                    <a:lnTo>
                      <a:pt x="3970" y="10744"/>
                    </a:lnTo>
                    <a:cubicBezTo>
                      <a:pt x="4285" y="10933"/>
                      <a:pt x="4631" y="11059"/>
                      <a:pt x="5009" y="11185"/>
                    </a:cubicBezTo>
                    <a:lnTo>
                      <a:pt x="5009" y="11909"/>
                    </a:lnTo>
                    <a:cubicBezTo>
                      <a:pt x="5009" y="12382"/>
                      <a:pt x="5356" y="12760"/>
                      <a:pt x="5829" y="12760"/>
                    </a:cubicBezTo>
                    <a:lnTo>
                      <a:pt x="6931" y="12760"/>
                    </a:lnTo>
                    <a:cubicBezTo>
                      <a:pt x="7404" y="12760"/>
                      <a:pt x="7750" y="12382"/>
                      <a:pt x="7750" y="11909"/>
                    </a:cubicBezTo>
                    <a:lnTo>
                      <a:pt x="7750" y="11185"/>
                    </a:lnTo>
                    <a:cubicBezTo>
                      <a:pt x="8097" y="11059"/>
                      <a:pt x="8475" y="10933"/>
                      <a:pt x="8790" y="10744"/>
                    </a:cubicBezTo>
                    <a:lnTo>
                      <a:pt x="9294" y="11248"/>
                    </a:lnTo>
                    <a:cubicBezTo>
                      <a:pt x="9452" y="11405"/>
                      <a:pt x="9656" y="11484"/>
                      <a:pt x="9865" y="11484"/>
                    </a:cubicBezTo>
                    <a:cubicBezTo>
                      <a:pt x="10074" y="11484"/>
                      <a:pt x="10287" y="11405"/>
                      <a:pt x="10460" y="11248"/>
                    </a:cubicBezTo>
                    <a:lnTo>
                      <a:pt x="11247" y="10460"/>
                    </a:lnTo>
                    <a:cubicBezTo>
                      <a:pt x="11563" y="10145"/>
                      <a:pt x="11563" y="9641"/>
                      <a:pt x="11247" y="9295"/>
                    </a:cubicBezTo>
                    <a:lnTo>
                      <a:pt x="10743" y="8759"/>
                    </a:lnTo>
                    <a:cubicBezTo>
                      <a:pt x="10932" y="8444"/>
                      <a:pt x="11058" y="8097"/>
                      <a:pt x="11184" y="7751"/>
                    </a:cubicBezTo>
                    <a:lnTo>
                      <a:pt x="11941" y="7751"/>
                    </a:lnTo>
                    <a:cubicBezTo>
                      <a:pt x="12413" y="7751"/>
                      <a:pt x="12760" y="7404"/>
                      <a:pt x="12760" y="6932"/>
                    </a:cubicBezTo>
                    <a:lnTo>
                      <a:pt x="12760" y="5829"/>
                    </a:lnTo>
                    <a:cubicBezTo>
                      <a:pt x="12760" y="5356"/>
                      <a:pt x="12350" y="5010"/>
                      <a:pt x="11941" y="5010"/>
                    </a:cubicBezTo>
                    <a:lnTo>
                      <a:pt x="11184" y="5010"/>
                    </a:lnTo>
                    <a:cubicBezTo>
                      <a:pt x="11058" y="4632"/>
                      <a:pt x="10932" y="4285"/>
                      <a:pt x="10743" y="3970"/>
                    </a:cubicBezTo>
                    <a:lnTo>
                      <a:pt x="11247" y="3466"/>
                    </a:lnTo>
                    <a:cubicBezTo>
                      <a:pt x="11563" y="3151"/>
                      <a:pt x="11563" y="2647"/>
                      <a:pt x="11247" y="2269"/>
                    </a:cubicBezTo>
                    <a:lnTo>
                      <a:pt x="10460" y="1481"/>
                    </a:lnTo>
                    <a:cubicBezTo>
                      <a:pt x="10302" y="1324"/>
                      <a:pt x="10098" y="1245"/>
                      <a:pt x="9889" y="1245"/>
                    </a:cubicBezTo>
                    <a:cubicBezTo>
                      <a:pt x="9680" y="1245"/>
                      <a:pt x="9467" y="1324"/>
                      <a:pt x="9294" y="1481"/>
                    </a:cubicBezTo>
                    <a:lnTo>
                      <a:pt x="8790" y="2017"/>
                    </a:lnTo>
                    <a:cubicBezTo>
                      <a:pt x="8475" y="1796"/>
                      <a:pt x="8097" y="1702"/>
                      <a:pt x="7750" y="1576"/>
                    </a:cubicBezTo>
                    <a:lnTo>
                      <a:pt x="7750" y="820"/>
                    </a:lnTo>
                    <a:cubicBezTo>
                      <a:pt x="7750" y="347"/>
                      <a:pt x="7404" y="1"/>
                      <a:pt x="6931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5" name="Google Shape;4886;p133">
                <a:extLst>
                  <a:ext uri="{FF2B5EF4-FFF2-40B4-BE49-F238E27FC236}">
                    <a16:creationId xmlns:a16="http://schemas.microsoft.com/office/drawing/2014/main" id="{A854F166-A71B-4D7D-B79B-651C05690B18}"/>
                  </a:ext>
                </a:extLst>
              </p:cNvPr>
              <p:cNvSpPr/>
              <p:nvPr/>
            </p:nvSpPr>
            <p:spPr>
              <a:xfrm>
                <a:off x="-63160900" y="2021425"/>
                <a:ext cx="137850" cy="137850"/>
              </a:xfrm>
              <a:custGeom>
                <a:avLst/>
                <a:gdLst/>
                <a:ahLst/>
                <a:cxnLst/>
                <a:rect l="l" t="t" r="r" b="b"/>
                <a:pathLst>
                  <a:path w="5514" h="5514" extrusionOk="0">
                    <a:moveTo>
                      <a:pt x="2773" y="820"/>
                    </a:moveTo>
                    <a:cubicBezTo>
                      <a:pt x="3813" y="820"/>
                      <a:pt x="4695" y="1702"/>
                      <a:pt x="4695" y="2742"/>
                    </a:cubicBezTo>
                    <a:cubicBezTo>
                      <a:pt x="4695" y="3813"/>
                      <a:pt x="3813" y="4695"/>
                      <a:pt x="2773" y="4695"/>
                    </a:cubicBezTo>
                    <a:cubicBezTo>
                      <a:pt x="1702" y="4695"/>
                      <a:pt x="820" y="3813"/>
                      <a:pt x="820" y="2742"/>
                    </a:cubicBezTo>
                    <a:cubicBezTo>
                      <a:pt x="820" y="1702"/>
                      <a:pt x="1702" y="820"/>
                      <a:pt x="2773" y="820"/>
                    </a:cubicBezTo>
                    <a:close/>
                    <a:moveTo>
                      <a:pt x="2773" y="1"/>
                    </a:moveTo>
                    <a:cubicBezTo>
                      <a:pt x="1229" y="1"/>
                      <a:pt x="1" y="1198"/>
                      <a:pt x="1" y="2742"/>
                    </a:cubicBezTo>
                    <a:cubicBezTo>
                      <a:pt x="1" y="4285"/>
                      <a:pt x="1229" y="5514"/>
                      <a:pt x="2773" y="5514"/>
                    </a:cubicBezTo>
                    <a:cubicBezTo>
                      <a:pt x="4285" y="5514"/>
                      <a:pt x="5514" y="4285"/>
                      <a:pt x="5514" y="2742"/>
                    </a:cubicBezTo>
                    <a:cubicBezTo>
                      <a:pt x="5514" y="1229"/>
                      <a:pt x="4254" y="1"/>
                      <a:pt x="2773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0E96F1F-33A9-445A-ADC0-089B4F44698C}"/>
              </a:ext>
            </a:extLst>
          </p:cNvPr>
          <p:cNvGrpSpPr/>
          <p:nvPr/>
        </p:nvGrpSpPr>
        <p:grpSpPr>
          <a:xfrm>
            <a:off x="1114982" y="2219327"/>
            <a:ext cx="536825" cy="520435"/>
            <a:chOff x="4295163" y="3492772"/>
            <a:chExt cx="536825" cy="52043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112D14B2-01C7-41B0-9A8A-9735052467F2}"/>
                </a:ext>
              </a:extLst>
            </p:cNvPr>
            <p:cNvSpPr/>
            <p:nvPr/>
          </p:nvSpPr>
          <p:spPr>
            <a:xfrm>
              <a:off x="4295163" y="3492772"/>
              <a:ext cx="536825" cy="520435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6" name="Google Shape;5060;p133">
              <a:extLst>
                <a:ext uri="{FF2B5EF4-FFF2-40B4-BE49-F238E27FC236}">
                  <a16:creationId xmlns:a16="http://schemas.microsoft.com/office/drawing/2014/main" id="{A270B661-15B6-486F-B978-8B43B01DCA19}"/>
                </a:ext>
              </a:extLst>
            </p:cNvPr>
            <p:cNvGrpSpPr/>
            <p:nvPr/>
          </p:nvGrpSpPr>
          <p:grpSpPr>
            <a:xfrm>
              <a:off x="4388865" y="3578706"/>
              <a:ext cx="349421" cy="348568"/>
              <a:chOff x="-59092025" y="2296300"/>
              <a:chExt cx="317425" cy="316650"/>
            </a:xfrm>
          </p:grpSpPr>
          <p:sp>
            <p:nvSpPr>
              <p:cNvPr id="47" name="Google Shape;5061;p133">
                <a:extLst>
                  <a:ext uri="{FF2B5EF4-FFF2-40B4-BE49-F238E27FC236}">
                    <a16:creationId xmlns:a16="http://schemas.microsoft.com/office/drawing/2014/main" id="{0FC82FC7-EF99-48F0-92BF-9499A7A98917}"/>
                  </a:ext>
                </a:extLst>
              </p:cNvPr>
              <p:cNvSpPr/>
              <p:nvPr/>
            </p:nvSpPr>
            <p:spPr>
              <a:xfrm>
                <a:off x="-58994350" y="2382950"/>
                <a:ext cx="122875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4915" h="5357" extrusionOk="0">
                    <a:moveTo>
                      <a:pt x="2457" y="819"/>
                    </a:moveTo>
                    <a:cubicBezTo>
                      <a:pt x="2930" y="819"/>
                      <a:pt x="3277" y="1166"/>
                      <a:pt x="3277" y="1639"/>
                    </a:cubicBezTo>
                    <a:cubicBezTo>
                      <a:pt x="3277" y="2111"/>
                      <a:pt x="2930" y="2458"/>
                      <a:pt x="2457" y="2458"/>
                    </a:cubicBezTo>
                    <a:cubicBezTo>
                      <a:pt x="1985" y="2458"/>
                      <a:pt x="1607" y="2111"/>
                      <a:pt x="1607" y="1639"/>
                    </a:cubicBezTo>
                    <a:cubicBezTo>
                      <a:pt x="1607" y="1166"/>
                      <a:pt x="2016" y="819"/>
                      <a:pt x="2457" y="819"/>
                    </a:cubicBezTo>
                    <a:close/>
                    <a:moveTo>
                      <a:pt x="2489" y="3245"/>
                    </a:moveTo>
                    <a:cubicBezTo>
                      <a:pt x="3277" y="3245"/>
                      <a:pt x="3907" y="3781"/>
                      <a:pt x="4096" y="4506"/>
                    </a:cubicBezTo>
                    <a:lnTo>
                      <a:pt x="882" y="4506"/>
                    </a:lnTo>
                    <a:cubicBezTo>
                      <a:pt x="1071" y="3812"/>
                      <a:pt x="1701" y="3245"/>
                      <a:pt x="2489" y="3245"/>
                    </a:cubicBezTo>
                    <a:close/>
                    <a:moveTo>
                      <a:pt x="2489" y="0"/>
                    </a:moveTo>
                    <a:cubicBezTo>
                      <a:pt x="1575" y="0"/>
                      <a:pt x="819" y="725"/>
                      <a:pt x="819" y="1639"/>
                    </a:cubicBezTo>
                    <a:cubicBezTo>
                      <a:pt x="819" y="2080"/>
                      <a:pt x="977" y="2458"/>
                      <a:pt x="1292" y="2773"/>
                    </a:cubicBezTo>
                    <a:cubicBezTo>
                      <a:pt x="567" y="3214"/>
                      <a:pt x="0" y="4001"/>
                      <a:pt x="0" y="4947"/>
                    </a:cubicBezTo>
                    <a:cubicBezTo>
                      <a:pt x="0" y="5199"/>
                      <a:pt x="189" y="5356"/>
                      <a:pt x="410" y="5356"/>
                    </a:cubicBezTo>
                    <a:lnTo>
                      <a:pt x="4537" y="5356"/>
                    </a:lnTo>
                    <a:cubicBezTo>
                      <a:pt x="4757" y="5356"/>
                      <a:pt x="4915" y="5136"/>
                      <a:pt x="4915" y="4947"/>
                    </a:cubicBezTo>
                    <a:cubicBezTo>
                      <a:pt x="4915" y="4001"/>
                      <a:pt x="4411" y="3182"/>
                      <a:pt x="3655" y="2773"/>
                    </a:cubicBezTo>
                    <a:cubicBezTo>
                      <a:pt x="3938" y="2458"/>
                      <a:pt x="4127" y="2080"/>
                      <a:pt x="4127" y="1639"/>
                    </a:cubicBezTo>
                    <a:cubicBezTo>
                      <a:pt x="4127" y="725"/>
                      <a:pt x="3403" y="0"/>
                      <a:pt x="2489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8" name="Google Shape;5062;p133">
                <a:extLst>
                  <a:ext uri="{FF2B5EF4-FFF2-40B4-BE49-F238E27FC236}">
                    <a16:creationId xmlns:a16="http://schemas.microsoft.com/office/drawing/2014/main" id="{6FBB03B2-3159-4B61-8C2D-9B581961FF00}"/>
                  </a:ext>
                </a:extLst>
              </p:cNvPr>
              <p:cNvSpPr/>
              <p:nvPr/>
            </p:nvSpPr>
            <p:spPr>
              <a:xfrm>
                <a:off x="-59092025" y="2296300"/>
                <a:ext cx="317425" cy="316650"/>
              </a:xfrm>
              <a:custGeom>
                <a:avLst/>
                <a:gdLst/>
                <a:ahLst/>
                <a:cxnLst/>
                <a:rect l="l" t="t" r="r" b="b"/>
                <a:pathLst>
                  <a:path w="12697" h="12666" extrusionOk="0">
                    <a:moveTo>
                      <a:pt x="1261" y="820"/>
                    </a:moveTo>
                    <a:cubicBezTo>
                      <a:pt x="1513" y="820"/>
                      <a:pt x="1702" y="1009"/>
                      <a:pt x="1702" y="1198"/>
                    </a:cubicBezTo>
                    <a:cubicBezTo>
                      <a:pt x="1670" y="1450"/>
                      <a:pt x="1513" y="1639"/>
                      <a:pt x="1261" y="1639"/>
                    </a:cubicBezTo>
                    <a:cubicBezTo>
                      <a:pt x="1040" y="1639"/>
                      <a:pt x="883" y="1450"/>
                      <a:pt x="883" y="1198"/>
                    </a:cubicBezTo>
                    <a:cubicBezTo>
                      <a:pt x="883" y="977"/>
                      <a:pt x="1072" y="820"/>
                      <a:pt x="1261" y="820"/>
                    </a:cubicBezTo>
                    <a:close/>
                    <a:moveTo>
                      <a:pt x="11468" y="820"/>
                    </a:moveTo>
                    <a:cubicBezTo>
                      <a:pt x="11720" y="820"/>
                      <a:pt x="11878" y="1009"/>
                      <a:pt x="11878" y="1198"/>
                    </a:cubicBezTo>
                    <a:cubicBezTo>
                      <a:pt x="11878" y="1450"/>
                      <a:pt x="11657" y="1639"/>
                      <a:pt x="11468" y="1639"/>
                    </a:cubicBezTo>
                    <a:cubicBezTo>
                      <a:pt x="11248" y="1639"/>
                      <a:pt x="11027" y="1450"/>
                      <a:pt x="11027" y="1198"/>
                    </a:cubicBezTo>
                    <a:cubicBezTo>
                      <a:pt x="11027" y="1009"/>
                      <a:pt x="11248" y="820"/>
                      <a:pt x="11468" y="820"/>
                    </a:cubicBezTo>
                    <a:close/>
                    <a:moveTo>
                      <a:pt x="6396" y="2616"/>
                    </a:moveTo>
                    <a:cubicBezTo>
                      <a:pt x="7341" y="2616"/>
                      <a:pt x="8286" y="2994"/>
                      <a:pt x="9042" y="3718"/>
                    </a:cubicBezTo>
                    <a:cubicBezTo>
                      <a:pt x="10492" y="5136"/>
                      <a:pt x="10492" y="7499"/>
                      <a:pt x="9042" y="8917"/>
                    </a:cubicBezTo>
                    <a:cubicBezTo>
                      <a:pt x="8318" y="9641"/>
                      <a:pt x="7373" y="10019"/>
                      <a:pt x="6396" y="10019"/>
                    </a:cubicBezTo>
                    <a:cubicBezTo>
                      <a:pt x="4348" y="10019"/>
                      <a:pt x="2647" y="8381"/>
                      <a:pt x="2647" y="6333"/>
                    </a:cubicBezTo>
                    <a:cubicBezTo>
                      <a:pt x="2647" y="4222"/>
                      <a:pt x="4348" y="2616"/>
                      <a:pt x="6396" y="2616"/>
                    </a:cubicBezTo>
                    <a:close/>
                    <a:moveTo>
                      <a:pt x="1261" y="10965"/>
                    </a:moveTo>
                    <a:cubicBezTo>
                      <a:pt x="1513" y="10965"/>
                      <a:pt x="1702" y="11185"/>
                      <a:pt x="1702" y="11406"/>
                    </a:cubicBezTo>
                    <a:cubicBezTo>
                      <a:pt x="1670" y="11658"/>
                      <a:pt x="1513" y="11847"/>
                      <a:pt x="1261" y="11847"/>
                    </a:cubicBezTo>
                    <a:cubicBezTo>
                      <a:pt x="1040" y="11847"/>
                      <a:pt x="883" y="11658"/>
                      <a:pt x="883" y="11406"/>
                    </a:cubicBezTo>
                    <a:cubicBezTo>
                      <a:pt x="883" y="11185"/>
                      <a:pt x="1072" y="10965"/>
                      <a:pt x="1261" y="10965"/>
                    </a:cubicBezTo>
                    <a:close/>
                    <a:moveTo>
                      <a:pt x="11468" y="11028"/>
                    </a:moveTo>
                    <a:cubicBezTo>
                      <a:pt x="11720" y="11028"/>
                      <a:pt x="11878" y="11217"/>
                      <a:pt x="11878" y="11437"/>
                    </a:cubicBezTo>
                    <a:cubicBezTo>
                      <a:pt x="11878" y="11689"/>
                      <a:pt x="11657" y="11878"/>
                      <a:pt x="11468" y="11878"/>
                    </a:cubicBezTo>
                    <a:cubicBezTo>
                      <a:pt x="11248" y="11878"/>
                      <a:pt x="11027" y="11689"/>
                      <a:pt x="11027" y="11437"/>
                    </a:cubicBezTo>
                    <a:cubicBezTo>
                      <a:pt x="11027" y="11217"/>
                      <a:pt x="11248" y="11028"/>
                      <a:pt x="11468" y="11028"/>
                    </a:cubicBezTo>
                    <a:close/>
                    <a:moveTo>
                      <a:pt x="1229" y="1"/>
                    </a:moveTo>
                    <a:cubicBezTo>
                      <a:pt x="567" y="1"/>
                      <a:pt x="0" y="536"/>
                      <a:pt x="0" y="1198"/>
                    </a:cubicBezTo>
                    <a:cubicBezTo>
                      <a:pt x="0" y="1891"/>
                      <a:pt x="567" y="2458"/>
                      <a:pt x="1229" y="2458"/>
                    </a:cubicBezTo>
                    <a:cubicBezTo>
                      <a:pt x="1418" y="2458"/>
                      <a:pt x="1576" y="2427"/>
                      <a:pt x="1796" y="2364"/>
                    </a:cubicBezTo>
                    <a:lnTo>
                      <a:pt x="2836" y="3403"/>
                    </a:lnTo>
                    <a:cubicBezTo>
                      <a:pt x="2174" y="4222"/>
                      <a:pt x="1828" y="5231"/>
                      <a:pt x="1828" y="6302"/>
                    </a:cubicBezTo>
                    <a:cubicBezTo>
                      <a:pt x="1828" y="7341"/>
                      <a:pt x="2174" y="8381"/>
                      <a:pt x="2899" y="9200"/>
                    </a:cubicBezTo>
                    <a:lnTo>
                      <a:pt x="1796" y="10303"/>
                    </a:lnTo>
                    <a:cubicBezTo>
                      <a:pt x="1639" y="10240"/>
                      <a:pt x="1418" y="10177"/>
                      <a:pt x="1229" y="10177"/>
                    </a:cubicBezTo>
                    <a:cubicBezTo>
                      <a:pt x="567" y="10177"/>
                      <a:pt x="0" y="10744"/>
                      <a:pt x="0" y="11437"/>
                    </a:cubicBezTo>
                    <a:cubicBezTo>
                      <a:pt x="0" y="12130"/>
                      <a:pt x="567" y="12666"/>
                      <a:pt x="1229" y="12666"/>
                    </a:cubicBezTo>
                    <a:cubicBezTo>
                      <a:pt x="1891" y="12666"/>
                      <a:pt x="2489" y="12130"/>
                      <a:pt x="2489" y="11437"/>
                    </a:cubicBezTo>
                    <a:cubicBezTo>
                      <a:pt x="2489" y="11248"/>
                      <a:pt x="2458" y="11091"/>
                      <a:pt x="2363" y="10901"/>
                    </a:cubicBezTo>
                    <a:lnTo>
                      <a:pt x="3466" y="9799"/>
                    </a:lnTo>
                    <a:cubicBezTo>
                      <a:pt x="4317" y="10460"/>
                      <a:pt x="5325" y="10838"/>
                      <a:pt x="6396" y="10838"/>
                    </a:cubicBezTo>
                    <a:cubicBezTo>
                      <a:pt x="7467" y="10838"/>
                      <a:pt x="8475" y="10492"/>
                      <a:pt x="9263" y="9830"/>
                    </a:cubicBezTo>
                    <a:lnTo>
                      <a:pt x="10334" y="10901"/>
                    </a:lnTo>
                    <a:cubicBezTo>
                      <a:pt x="10240" y="11059"/>
                      <a:pt x="10208" y="11248"/>
                      <a:pt x="10208" y="11437"/>
                    </a:cubicBezTo>
                    <a:cubicBezTo>
                      <a:pt x="10208" y="12099"/>
                      <a:pt x="10775" y="12666"/>
                      <a:pt x="11468" y="12666"/>
                    </a:cubicBezTo>
                    <a:cubicBezTo>
                      <a:pt x="12130" y="12666"/>
                      <a:pt x="12697" y="12099"/>
                      <a:pt x="12697" y="11437"/>
                    </a:cubicBezTo>
                    <a:cubicBezTo>
                      <a:pt x="12697" y="10775"/>
                      <a:pt x="12130" y="10177"/>
                      <a:pt x="11468" y="10177"/>
                    </a:cubicBezTo>
                    <a:cubicBezTo>
                      <a:pt x="11279" y="10177"/>
                      <a:pt x="11122" y="10208"/>
                      <a:pt x="10933" y="10303"/>
                    </a:cubicBezTo>
                    <a:lnTo>
                      <a:pt x="9861" y="9232"/>
                    </a:lnTo>
                    <a:cubicBezTo>
                      <a:pt x="11279" y="7562"/>
                      <a:pt x="11279" y="5073"/>
                      <a:pt x="9861" y="3403"/>
                    </a:cubicBezTo>
                    <a:lnTo>
                      <a:pt x="10933" y="2364"/>
                    </a:lnTo>
                    <a:cubicBezTo>
                      <a:pt x="11122" y="2427"/>
                      <a:pt x="11279" y="2458"/>
                      <a:pt x="11468" y="2458"/>
                    </a:cubicBezTo>
                    <a:cubicBezTo>
                      <a:pt x="12130" y="2458"/>
                      <a:pt x="12697" y="1923"/>
                      <a:pt x="12697" y="1198"/>
                    </a:cubicBezTo>
                    <a:cubicBezTo>
                      <a:pt x="12697" y="536"/>
                      <a:pt x="12130" y="1"/>
                      <a:pt x="11468" y="1"/>
                    </a:cubicBezTo>
                    <a:cubicBezTo>
                      <a:pt x="10807" y="1"/>
                      <a:pt x="10208" y="536"/>
                      <a:pt x="10208" y="1198"/>
                    </a:cubicBezTo>
                    <a:cubicBezTo>
                      <a:pt x="10208" y="1419"/>
                      <a:pt x="10240" y="1576"/>
                      <a:pt x="10334" y="1765"/>
                    </a:cubicBezTo>
                    <a:lnTo>
                      <a:pt x="9263" y="2836"/>
                    </a:lnTo>
                    <a:cubicBezTo>
                      <a:pt x="8412" y="2127"/>
                      <a:pt x="7373" y="1773"/>
                      <a:pt x="6337" y="1773"/>
                    </a:cubicBezTo>
                    <a:cubicBezTo>
                      <a:pt x="5301" y="1773"/>
                      <a:pt x="4269" y="2127"/>
                      <a:pt x="3434" y="2836"/>
                    </a:cubicBezTo>
                    <a:lnTo>
                      <a:pt x="2363" y="1765"/>
                    </a:lnTo>
                    <a:cubicBezTo>
                      <a:pt x="2458" y="1608"/>
                      <a:pt x="2489" y="1419"/>
                      <a:pt x="2489" y="1198"/>
                    </a:cubicBezTo>
                    <a:cubicBezTo>
                      <a:pt x="2489" y="536"/>
                      <a:pt x="1954" y="1"/>
                      <a:pt x="1229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pic>
        <p:nvPicPr>
          <p:cNvPr id="49" name="Google Shape;341;p77">
            <a:extLst>
              <a:ext uri="{FF2B5EF4-FFF2-40B4-BE49-F238E27FC236}">
                <a16:creationId xmlns:a16="http://schemas.microsoft.com/office/drawing/2014/main" id="{76F78C89-92DA-4406-AE2E-8BE0DF3B1DB1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2701D747-0DEF-40D6-86EC-DB4DE1C42D67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A3192CB-5072-4614-9994-E7EFF213E33C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3" name="Graphic 52" descr="Video camera with solid fill">
              <a:extLst>
                <a:ext uri="{FF2B5EF4-FFF2-40B4-BE49-F238E27FC236}">
                  <a16:creationId xmlns:a16="http://schemas.microsoft.com/office/drawing/2014/main" id="{281029A6-D59C-42D0-A581-254AAA2ED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7700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A94696-66FC-4C5E-B46A-CF3F6EDA5E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972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" name="Google Shape;481;p89"/>
          <p:cNvSpPr txBox="1"/>
          <p:nvPr/>
        </p:nvSpPr>
        <p:spPr>
          <a:xfrm>
            <a:off x="0" y="0"/>
            <a:ext cx="9144000" cy="101498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2" name="Google Shape;482;p89"/>
          <p:cNvSpPr txBox="1">
            <a:spLocks noGrp="1"/>
          </p:cNvSpPr>
          <p:nvPr>
            <p:ph type="title"/>
          </p:nvPr>
        </p:nvSpPr>
        <p:spPr>
          <a:xfrm>
            <a:off x="2881050" y="76620"/>
            <a:ext cx="3381900" cy="861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 sz="4400" b="1" dirty="0">
                <a:solidFill>
                  <a:srgbClr val="FFFFFF"/>
                </a:solidFill>
                <a:ea typeface="Nunito Sans"/>
              </a:rPr>
              <a:t>WHY US? </a:t>
            </a:r>
          </a:p>
        </p:txBody>
      </p:sp>
      <p:sp>
        <p:nvSpPr>
          <p:cNvPr id="485" name="Google Shape;485;p89"/>
          <p:cNvSpPr txBox="1"/>
          <p:nvPr/>
        </p:nvSpPr>
        <p:spPr>
          <a:xfrm>
            <a:off x="529692" y="2864405"/>
            <a:ext cx="2391114" cy="1077178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0" u="none" strike="noStrike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+ years of experience in Financial services, Management Consulting and Analytics 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4" name="Google Shape;484;p89"/>
          <p:cNvSpPr txBox="1"/>
          <p:nvPr/>
        </p:nvSpPr>
        <p:spPr>
          <a:xfrm>
            <a:off x="3376443" y="2864405"/>
            <a:ext cx="2391114" cy="1077178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ecialist experience 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:</a:t>
            </a: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  <a:p>
            <a:pPr marL="342900" marR="0" lvl="0" indent="-3429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timisation</a:t>
            </a: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342900" marR="0" lvl="0" indent="-3429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Management</a:t>
            </a:r>
          </a:p>
          <a:p>
            <a:pPr marL="342900" marR="0" lvl="0" indent="-3429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dictive a</a:t>
            </a: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lytics.</a:t>
            </a:r>
          </a:p>
        </p:txBody>
      </p:sp>
      <p:sp>
        <p:nvSpPr>
          <p:cNvPr id="483" name="Google Shape;483;p89"/>
          <p:cNvSpPr txBox="1"/>
          <p:nvPr/>
        </p:nvSpPr>
        <p:spPr>
          <a:xfrm>
            <a:off x="6223194" y="2864405"/>
            <a:ext cx="2391114" cy="1077178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thusiastic about providing you</a:t>
            </a:r>
            <a:r>
              <a:rPr lang="hu-HU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he best analytics service.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Google Shape;5054;p133">
            <a:extLst>
              <a:ext uri="{FF2B5EF4-FFF2-40B4-BE49-F238E27FC236}">
                <a16:creationId xmlns:a16="http://schemas.microsoft.com/office/drawing/2014/main" id="{F724384F-40B4-486D-8786-BA7978932FAD}"/>
              </a:ext>
            </a:extLst>
          </p:cNvPr>
          <p:cNvSpPr/>
          <p:nvPr/>
        </p:nvSpPr>
        <p:spPr>
          <a:xfrm>
            <a:off x="6969946" y="1726401"/>
            <a:ext cx="897610" cy="699881"/>
          </a:xfrm>
          <a:custGeom>
            <a:avLst/>
            <a:gdLst/>
            <a:ahLst/>
            <a:cxnLst/>
            <a:rect l="l" t="t" r="r" b="b"/>
            <a:pathLst>
              <a:path w="12729" h="9925" extrusionOk="0">
                <a:moveTo>
                  <a:pt x="925" y="3644"/>
                </a:moveTo>
                <a:cubicBezTo>
                  <a:pt x="944" y="3644"/>
                  <a:pt x="963" y="3648"/>
                  <a:pt x="978" y="3655"/>
                </a:cubicBezTo>
                <a:lnTo>
                  <a:pt x="1608" y="3970"/>
                </a:lnTo>
                <a:lnTo>
                  <a:pt x="1608" y="5923"/>
                </a:lnTo>
                <a:lnTo>
                  <a:pt x="978" y="6239"/>
                </a:lnTo>
                <a:cubicBezTo>
                  <a:pt x="963" y="6253"/>
                  <a:pt x="945" y="6259"/>
                  <a:pt x="926" y="6259"/>
                </a:cubicBezTo>
                <a:cubicBezTo>
                  <a:pt x="863" y="6259"/>
                  <a:pt x="788" y="6192"/>
                  <a:pt x="788" y="6144"/>
                </a:cubicBezTo>
                <a:lnTo>
                  <a:pt x="788" y="3781"/>
                </a:lnTo>
                <a:cubicBezTo>
                  <a:pt x="788" y="3685"/>
                  <a:pt x="862" y="3644"/>
                  <a:pt x="925" y="3644"/>
                </a:cubicBezTo>
                <a:close/>
                <a:moveTo>
                  <a:pt x="10177" y="1796"/>
                </a:moveTo>
                <a:lnTo>
                  <a:pt x="10177" y="8129"/>
                </a:lnTo>
                <a:lnTo>
                  <a:pt x="2458" y="5892"/>
                </a:lnTo>
                <a:lnTo>
                  <a:pt x="2458" y="4033"/>
                </a:lnTo>
                <a:lnTo>
                  <a:pt x="10177" y="1796"/>
                </a:lnTo>
                <a:close/>
                <a:moveTo>
                  <a:pt x="4128" y="7247"/>
                </a:moveTo>
                <a:lnTo>
                  <a:pt x="6963" y="8066"/>
                </a:lnTo>
                <a:cubicBezTo>
                  <a:pt x="6648" y="8507"/>
                  <a:pt x="6176" y="8822"/>
                  <a:pt x="5640" y="8822"/>
                </a:cubicBezTo>
                <a:cubicBezTo>
                  <a:pt x="4758" y="8822"/>
                  <a:pt x="4097" y="8097"/>
                  <a:pt x="4128" y="7247"/>
                </a:cubicBezTo>
                <a:close/>
                <a:moveTo>
                  <a:pt x="11374" y="820"/>
                </a:moveTo>
                <a:cubicBezTo>
                  <a:pt x="11626" y="820"/>
                  <a:pt x="11815" y="1009"/>
                  <a:pt x="11815" y="1261"/>
                </a:cubicBezTo>
                <a:lnTo>
                  <a:pt x="11815" y="8696"/>
                </a:lnTo>
                <a:cubicBezTo>
                  <a:pt x="11815" y="8916"/>
                  <a:pt x="11626" y="9137"/>
                  <a:pt x="11374" y="9137"/>
                </a:cubicBezTo>
                <a:cubicBezTo>
                  <a:pt x="11154" y="9137"/>
                  <a:pt x="10996" y="8916"/>
                  <a:pt x="10996" y="8696"/>
                </a:cubicBezTo>
                <a:lnTo>
                  <a:pt x="10996" y="1261"/>
                </a:lnTo>
                <a:cubicBezTo>
                  <a:pt x="10996" y="1009"/>
                  <a:pt x="11185" y="820"/>
                  <a:pt x="11374" y="820"/>
                </a:cubicBezTo>
                <a:close/>
                <a:moveTo>
                  <a:pt x="11437" y="1"/>
                </a:moveTo>
                <a:cubicBezTo>
                  <a:pt x="10839" y="1"/>
                  <a:pt x="10366" y="379"/>
                  <a:pt x="10240" y="883"/>
                </a:cubicBezTo>
                <a:lnTo>
                  <a:pt x="2080" y="3246"/>
                </a:lnTo>
                <a:lnTo>
                  <a:pt x="1387" y="2899"/>
                </a:lnTo>
                <a:cubicBezTo>
                  <a:pt x="1251" y="2831"/>
                  <a:pt x="1109" y="2800"/>
                  <a:pt x="970" y="2800"/>
                </a:cubicBezTo>
                <a:cubicBezTo>
                  <a:pt x="466" y="2800"/>
                  <a:pt x="1" y="3213"/>
                  <a:pt x="1" y="3781"/>
                </a:cubicBezTo>
                <a:lnTo>
                  <a:pt x="1" y="6144"/>
                </a:lnTo>
                <a:cubicBezTo>
                  <a:pt x="1" y="6687"/>
                  <a:pt x="465" y="7094"/>
                  <a:pt x="983" y="7094"/>
                </a:cubicBezTo>
                <a:cubicBezTo>
                  <a:pt x="1127" y="7094"/>
                  <a:pt x="1275" y="7063"/>
                  <a:pt x="1419" y="6995"/>
                </a:cubicBezTo>
                <a:lnTo>
                  <a:pt x="2143" y="6648"/>
                </a:lnTo>
                <a:lnTo>
                  <a:pt x="3340" y="6995"/>
                </a:lnTo>
                <a:cubicBezTo>
                  <a:pt x="3151" y="8412"/>
                  <a:pt x="4254" y="9641"/>
                  <a:pt x="5672" y="9641"/>
                </a:cubicBezTo>
                <a:cubicBezTo>
                  <a:pt x="6585" y="9641"/>
                  <a:pt x="7405" y="9074"/>
                  <a:pt x="7814" y="8286"/>
                </a:cubicBezTo>
                <a:lnTo>
                  <a:pt x="10271" y="9011"/>
                </a:lnTo>
                <a:cubicBezTo>
                  <a:pt x="10429" y="9515"/>
                  <a:pt x="10902" y="9925"/>
                  <a:pt x="11469" y="9925"/>
                </a:cubicBezTo>
                <a:cubicBezTo>
                  <a:pt x="12130" y="9925"/>
                  <a:pt x="12729" y="9358"/>
                  <a:pt x="12729" y="8664"/>
                </a:cubicBezTo>
                <a:lnTo>
                  <a:pt x="12729" y="1198"/>
                </a:lnTo>
                <a:cubicBezTo>
                  <a:pt x="12634" y="536"/>
                  <a:pt x="12099" y="1"/>
                  <a:pt x="1143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Google Shape;4916;p133">
            <a:extLst>
              <a:ext uri="{FF2B5EF4-FFF2-40B4-BE49-F238E27FC236}">
                <a16:creationId xmlns:a16="http://schemas.microsoft.com/office/drawing/2014/main" id="{B2B7F514-2E8B-4739-8A10-379AF2F21E63}"/>
              </a:ext>
            </a:extLst>
          </p:cNvPr>
          <p:cNvSpPr/>
          <p:nvPr/>
        </p:nvSpPr>
        <p:spPr>
          <a:xfrm>
            <a:off x="4274571" y="1744986"/>
            <a:ext cx="594858" cy="681296"/>
          </a:xfrm>
          <a:custGeom>
            <a:avLst/>
            <a:gdLst/>
            <a:ahLst/>
            <a:cxnLst/>
            <a:rect l="l" t="t" r="r" b="b"/>
            <a:pathLst>
              <a:path w="11059" h="12666" extrusionOk="0">
                <a:moveTo>
                  <a:pt x="4285" y="789"/>
                </a:moveTo>
                <a:cubicBezTo>
                  <a:pt x="4758" y="789"/>
                  <a:pt x="5136" y="1135"/>
                  <a:pt x="5136" y="1608"/>
                </a:cubicBezTo>
                <a:lnTo>
                  <a:pt x="5136" y="4128"/>
                </a:lnTo>
                <a:cubicBezTo>
                  <a:pt x="4190" y="4317"/>
                  <a:pt x="3466" y="5168"/>
                  <a:pt x="3466" y="6144"/>
                </a:cubicBezTo>
                <a:cubicBezTo>
                  <a:pt x="3466" y="6365"/>
                  <a:pt x="3655" y="6585"/>
                  <a:pt x="3907" y="6585"/>
                </a:cubicBezTo>
                <a:cubicBezTo>
                  <a:pt x="4127" y="6585"/>
                  <a:pt x="4285" y="6365"/>
                  <a:pt x="4285" y="6144"/>
                </a:cubicBezTo>
                <a:cubicBezTo>
                  <a:pt x="4285" y="5577"/>
                  <a:pt x="4663" y="5168"/>
                  <a:pt x="5136" y="4947"/>
                </a:cubicBezTo>
                <a:lnTo>
                  <a:pt x="5136" y="8192"/>
                </a:lnTo>
                <a:cubicBezTo>
                  <a:pt x="5136" y="8665"/>
                  <a:pt x="4758" y="9011"/>
                  <a:pt x="4285" y="9011"/>
                </a:cubicBezTo>
                <a:cubicBezTo>
                  <a:pt x="3938" y="9011"/>
                  <a:pt x="3592" y="8791"/>
                  <a:pt x="3497" y="8381"/>
                </a:cubicBezTo>
                <a:cubicBezTo>
                  <a:pt x="3434" y="8318"/>
                  <a:pt x="3277" y="8192"/>
                  <a:pt x="3119" y="8192"/>
                </a:cubicBezTo>
                <a:cubicBezTo>
                  <a:pt x="2962" y="8192"/>
                  <a:pt x="2899" y="8255"/>
                  <a:pt x="2647" y="8255"/>
                </a:cubicBezTo>
                <a:cubicBezTo>
                  <a:pt x="1544" y="8255"/>
                  <a:pt x="1544" y="6617"/>
                  <a:pt x="2647" y="6617"/>
                </a:cubicBezTo>
                <a:cubicBezTo>
                  <a:pt x="2867" y="6617"/>
                  <a:pt x="3025" y="6428"/>
                  <a:pt x="3025" y="6176"/>
                </a:cubicBezTo>
                <a:cubicBezTo>
                  <a:pt x="3025" y="5955"/>
                  <a:pt x="2836" y="5735"/>
                  <a:pt x="2647" y="5735"/>
                </a:cubicBezTo>
                <a:cubicBezTo>
                  <a:pt x="2080" y="5735"/>
                  <a:pt x="1607" y="6018"/>
                  <a:pt x="1292" y="6428"/>
                </a:cubicBezTo>
                <a:cubicBezTo>
                  <a:pt x="1103" y="6270"/>
                  <a:pt x="977" y="6018"/>
                  <a:pt x="977" y="5735"/>
                </a:cubicBezTo>
                <a:cubicBezTo>
                  <a:pt x="977" y="5483"/>
                  <a:pt x="1103" y="5325"/>
                  <a:pt x="1166" y="5199"/>
                </a:cubicBezTo>
                <a:cubicBezTo>
                  <a:pt x="1323" y="5042"/>
                  <a:pt x="1323" y="4790"/>
                  <a:pt x="1166" y="4632"/>
                </a:cubicBezTo>
                <a:cubicBezTo>
                  <a:pt x="662" y="4097"/>
                  <a:pt x="1103" y="3277"/>
                  <a:pt x="1828" y="3277"/>
                </a:cubicBezTo>
                <a:cubicBezTo>
                  <a:pt x="2048" y="3277"/>
                  <a:pt x="2237" y="3340"/>
                  <a:pt x="2395" y="3498"/>
                </a:cubicBezTo>
                <a:cubicBezTo>
                  <a:pt x="2473" y="3577"/>
                  <a:pt x="2584" y="3616"/>
                  <a:pt x="2694" y="3616"/>
                </a:cubicBezTo>
                <a:cubicBezTo>
                  <a:pt x="2804" y="3616"/>
                  <a:pt x="2914" y="3577"/>
                  <a:pt x="2993" y="3498"/>
                </a:cubicBezTo>
                <a:cubicBezTo>
                  <a:pt x="3151" y="3340"/>
                  <a:pt x="3151" y="3057"/>
                  <a:pt x="2993" y="2899"/>
                </a:cubicBezTo>
                <a:cubicBezTo>
                  <a:pt x="2678" y="2584"/>
                  <a:pt x="2269" y="2427"/>
                  <a:pt x="1828" y="2427"/>
                </a:cubicBezTo>
                <a:cubicBezTo>
                  <a:pt x="1828" y="1954"/>
                  <a:pt x="2174" y="1608"/>
                  <a:pt x="2647" y="1608"/>
                </a:cubicBezTo>
                <a:cubicBezTo>
                  <a:pt x="2773" y="1608"/>
                  <a:pt x="2836" y="1639"/>
                  <a:pt x="2962" y="1702"/>
                </a:cubicBezTo>
                <a:cubicBezTo>
                  <a:pt x="3000" y="1713"/>
                  <a:pt x="3040" y="1718"/>
                  <a:pt x="3079" y="1718"/>
                </a:cubicBezTo>
                <a:cubicBezTo>
                  <a:pt x="3264" y="1718"/>
                  <a:pt x="3445" y="1601"/>
                  <a:pt x="3497" y="1419"/>
                </a:cubicBezTo>
                <a:cubicBezTo>
                  <a:pt x="3592" y="1072"/>
                  <a:pt x="3938" y="789"/>
                  <a:pt x="4285" y="789"/>
                </a:cubicBezTo>
                <a:close/>
                <a:moveTo>
                  <a:pt x="6711" y="915"/>
                </a:moveTo>
                <a:cubicBezTo>
                  <a:pt x="7057" y="915"/>
                  <a:pt x="7404" y="1135"/>
                  <a:pt x="7498" y="1545"/>
                </a:cubicBezTo>
                <a:cubicBezTo>
                  <a:pt x="7547" y="1715"/>
                  <a:pt x="7708" y="1828"/>
                  <a:pt x="7880" y="1828"/>
                </a:cubicBezTo>
                <a:cubicBezTo>
                  <a:pt x="7931" y="1828"/>
                  <a:pt x="7983" y="1818"/>
                  <a:pt x="8034" y="1797"/>
                </a:cubicBezTo>
                <a:cubicBezTo>
                  <a:pt x="8160" y="1765"/>
                  <a:pt x="8223" y="1734"/>
                  <a:pt x="8349" y="1734"/>
                </a:cubicBezTo>
                <a:cubicBezTo>
                  <a:pt x="8822" y="1734"/>
                  <a:pt x="9168" y="2080"/>
                  <a:pt x="9168" y="2553"/>
                </a:cubicBezTo>
                <a:cubicBezTo>
                  <a:pt x="8759" y="2553"/>
                  <a:pt x="8318" y="2710"/>
                  <a:pt x="8003" y="3025"/>
                </a:cubicBezTo>
                <a:cubicBezTo>
                  <a:pt x="7845" y="3183"/>
                  <a:pt x="7845" y="3467"/>
                  <a:pt x="8003" y="3624"/>
                </a:cubicBezTo>
                <a:cubicBezTo>
                  <a:pt x="8081" y="3703"/>
                  <a:pt x="8192" y="3742"/>
                  <a:pt x="8302" y="3742"/>
                </a:cubicBezTo>
                <a:cubicBezTo>
                  <a:pt x="8412" y="3742"/>
                  <a:pt x="8522" y="3703"/>
                  <a:pt x="8601" y="3624"/>
                </a:cubicBezTo>
                <a:cubicBezTo>
                  <a:pt x="8759" y="3467"/>
                  <a:pt x="8948" y="3372"/>
                  <a:pt x="9168" y="3372"/>
                </a:cubicBezTo>
                <a:cubicBezTo>
                  <a:pt x="9893" y="3372"/>
                  <a:pt x="10271" y="4191"/>
                  <a:pt x="9798" y="4758"/>
                </a:cubicBezTo>
                <a:cubicBezTo>
                  <a:pt x="9735" y="4853"/>
                  <a:pt x="9735" y="5073"/>
                  <a:pt x="9830" y="5231"/>
                </a:cubicBezTo>
                <a:cubicBezTo>
                  <a:pt x="9956" y="5357"/>
                  <a:pt x="10050" y="5514"/>
                  <a:pt x="10050" y="5798"/>
                </a:cubicBezTo>
                <a:cubicBezTo>
                  <a:pt x="10050" y="6050"/>
                  <a:pt x="9924" y="6302"/>
                  <a:pt x="9735" y="6459"/>
                </a:cubicBezTo>
                <a:cubicBezTo>
                  <a:pt x="9420" y="6050"/>
                  <a:pt x="8948" y="5798"/>
                  <a:pt x="8381" y="5798"/>
                </a:cubicBezTo>
                <a:cubicBezTo>
                  <a:pt x="8160" y="5798"/>
                  <a:pt x="8003" y="5987"/>
                  <a:pt x="8003" y="6207"/>
                </a:cubicBezTo>
                <a:cubicBezTo>
                  <a:pt x="8003" y="6459"/>
                  <a:pt x="8192" y="6648"/>
                  <a:pt x="8381" y="6648"/>
                </a:cubicBezTo>
                <a:cubicBezTo>
                  <a:pt x="9483" y="6648"/>
                  <a:pt x="9483" y="8318"/>
                  <a:pt x="8381" y="8318"/>
                </a:cubicBezTo>
                <a:cubicBezTo>
                  <a:pt x="8255" y="8318"/>
                  <a:pt x="8192" y="8255"/>
                  <a:pt x="8066" y="8224"/>
                </a:cubicBezTo>
                <a:cubicBezTo>
                  <a:pt x="8021" y="8211"/>
                  <a:pt x="7976" y="8205"/>
                  <a:pt x="7931" y="8205"/>
                </a:cubicBezTo>
                <a:cubicBezTo>
                  <a:pt x="7752" y="8205"/>
                  <a:pt x="7580" y="8306"/>
                  <a:pt x="7530" y="8507"/>
                </a:cubicBezTo>
                <a:cubicBezTo>
                  <a:pt x="7435" y="8854"/>
                  <a:pt x="7089" y="9137"/>
                  <a:pt x="6742" y="9137"/>
                </a:cubicBezTo>
                <a:cubicBezTo>
                  <a:pt x="6270" y="9137"/>
                  <a:pt x="5892" y="8759"/>
                  <a:pt x="5892" y="8318"/>
                </a:cubicBezTo>
                <a:lnTo>
                  <a:pt x="5892" y="5073"/>
                </a:lnTo>
                <a:cubicBezTo>
                  <a:pt x="6364" y="5231"/>
                  <a:pt x="6742" y="5703"/>
                  <a:pt x="6742" y="6270"/>
                </a:cubicBezTo>
                <a:cubicBezTo>
                  <a:pt x="6742" y="6491"/>
                  <a:pt x="6931" y="6680"/>
                  <a:pt x="7120" y="6680"/>
                </a:cubicBezTo>
                <a:cubicBezTo>
                  <a:pt x="7341" y="6680"/>
                  <a:pt x="7530" y="6491"/>
                  <a:pt x="7530" y="6270"/>
                </a:cubicBezTo>
                <a:cubicBezTo>
                  <a:pt x="7530" y="5262"/>
                  <a:pt x="6805" y="4412"/>
                  <a:pt x="5860" y="4254"/>
                </a:cubicBezTo>
                <a:lnTo>
                  <a:pt x="5860" y="1734"/>
                </a:lnTo>
                <a:cubicBezTo>
                  <a:pt x="5860" y="1261"/>
                  <a:pt x="6207" y="915"/>
                  <a:pt x="6711" y="915"/>
                </a:cubicBezTo>
                <a:close/>
                <a:moveTo>
                  <a:pt x="5514" y="9358"/>
                </a:moveTo>
                <a:cubicBezTo>
                  <a:pt x="5829" y="9736"/>
                  <a:pt x="6270" y="9925"/>
                  <a:pt x="6774" y="9925"/>
                </a:cubicBezTo>
                <a:lnTo>
                  <a:pt x="6774" y="10209"/>
                </a:lnTo>
                <a:lnTo>
                  <a:pt x="4285" y="10209"/>
                </a:lnTo>
                <a:lnTo>
                  <a:pt x="4285" y="9925"/>
                </a:lnTo>
                <a:cubicBezTo>
                  <a:pt x="4789" y="9925"/>
                  <a:pt x="5230" y="9673"/>
                  <a:pt x="5514" y="9358"/>
                </a:cubicBezTo>
                <a:close/>
                <a:moveTo>
                  <a:pt x="6648" y="11028"/>
                </a:moveTo>
                <a:cubicBezTo>
                  <a:pt x="6522" y="11500"/>
                  <a:pt x="6049" y="11847"/>
                  <a:pt x="5514" y="11847"/>
                </a:cubicBezTo>
                <a:cubicBezTo>
                  <a:pt x="4978" y="11847"/>
                  <a:pt x="4537" y="11500"/>
                  <a:pt x="4316" y="11028"/>
                </a:cubicBezTo>
                <a:close/>
                <a:moveTo>
                  <a:pt x="4285" y="1"/>
                </a:moveTo>
                <a:cubicBezTo>
                  <a:pt x="3686" y="1"/>
                  <a:pt x="3151" y="316"/>
                  <a:pt x="2867" y="820"/>
                </a:cubicBezTo>
                <a:cubicBezTo>
                  <a:pt x="2796" y="811"/>
                  <a:pt x="2724" y="806"/>
                  <a:pt x="2654" y="806"/>
                </a:cubicBezTo>
                <a:cubicBezTo>
                  <a:pt x="1762" y="806"/>
                  <a:pt x="977" y="1526"/>
                  <a:pt x="977" y="2490"/>
                </a:cubicBezTo>
                <a:lnTo>
                  <a:pt x="977" y="2679"/>
                </a:lnTo>
                <a:cubicBezTo>
                  <a:pt x="851" y="2742"/>
                  <a:pt x="756" y="2836"/>
                  <a:pt x="630" y="2962"/>
                </a:cubicBezTo>
                <a:cubicBezTo>
                  <a:pt x="63" y="3498"/>
                  <a:pt x="0" y="4286"/>
                  <a:pt x="347" y="4947"/>
                </a:cubicBezTo>
                <a:cubicBezTo>
                  <a:pt x="189" y="5199"/>
                  <a:pt x="126" y="5514"/>
                  <a:pt x="126" y="5766"/>
                </a:cubicBezTo>
                <a:cubicBezTo>
                  <a:pt x="126" y="6365"/>
                  <a:pt x="441" y="6932"/>
                  <a:pt x="945" y="7184"/>
                </a:cubicBezTo>
                <a:cubicBezTo>
                  <a:pt x="819" y="8192"/>
                  <a:pt x="1576" y="9043"/>
                  <a:pt x="2584" y="9043"/>
                </a:cubicBezTo>
                <a:lnTo>
                  <a:pt x="2836" y="9043"/>
                </a:lnTo>
                <a:cubicBezTo>
                  <a:pt x="2993" y="9326"/>
                  <a:pt x="3182" y="9515"/>
                  <a:pt x="3434" y="9673"/>
                </a:cubicBezTo>
                <a:lnTo>
                  <a:pt x="3434" y="10587"/>
                </a:lnTo>
                <a:cubicBezTo>
                  <a:pt x="3434" y="11721"/>
                  <a:pt x="4379" y="12666"/>
                  <a:pt x="5514" y="12666"/>
                </a:cubicBezTo>
                <a:cubicBezTo>
                  <a:pt x="6648" y="12666"/>
                  <a:pt x="7593" y="11721"/>
                  <a:pt x="7593" y="10587"/>
                </a:cubicBezTo>
                <a:lnTo>
                  <a:pt x="7593" y="9673"/>
                </a:lnTo>
                <a:cubicBezTo>
                  <a:pt x="7845" y="9515"/>
                  <a:pt x="8066" y="9326"/>
                  <a:pt x="8192" y="9043"/>
                </a:cubicBezTo>
                <a:lnTo>
                  <a:pt x="8444" y="9043"/>
                </a:lnTo>
                <a:cubicBezTo>
                  <a:pt x="9420" y="9043"/>
                  <a:pt x="10208" y="8129"/>
                  <a:pt x="10082" y="7153"/>
                </a:cubicBezTo>
                <a:cubicBezTo>
                  <a:pt x="10586" y="6869"/>
                  <a:pt x="10901" y="6333"/>
                  <a:pt x="10901" y="5735"/>
                </a:cubicBezTo>
                <a:cubicBezTo>
                  <a:pt x="10901" y="5451"/>
                  <a:pt x="10838" y="5136"/>
                  <a:pt x="10680" y="4916"/>
                </a:cubicBezTo>
                <a:cubicBezTo>
                  <a:pt x="11059" y="4317"/>
                  <a:pt x="10933" y="3498"/>
                  <a:pt x="10428" y="2962"/>
                </a:cubicBezTo>
                <a:cubicBezTo>
                  <a:pt x="10302" y="2836"/>
                  <a:pt x="10208" y="2742"/>
                  <a:pt x="10082" y="2679"/>
                </a:cubicBezTo>
                <a:lnTo>
                  <a:pt x="10082" y="2490"/>
                </a:lnTo>
                <a:cubicBezTo>
                  <a:pt x="10082" y="1576"/>
                  <a:pt x="9326" y="820"/>
                  <a:pt x="8444" y="820"/>
                </a:cubicBezTo>
                <a:lnTo>
                  <a:pt x="8192" y="820"/>
                </a:lnTo>
                <a:cubicBezTo>
                  <a:pt x="7908" y="316"/>
                  <a:pt x="7372" y="1"/>
                  <a:pt x="6774" y="1"/>
                </a:cubicBezTo>
                <a:cubicBezTo>
                  <a:pt x="6270" y="1"/>
                  <a:pt x="5829" y="222"/>
                  <a:pt x="5514" y="537"/>
                </a:cubicBezTo>
                <a:cubicBezTo>
                  <a:pt x="5199" y="190"/>
                  <a:pt x="4758" y="1"/>
                  <a:pt x="42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oogle Shape;4945;p133">
            <a:extLst>
              <a:ext uri="{FF2B5EF4-FFF2-40B4-BE49-F238E27FC236}">
                <a16:creationId xmlns:a16="http://schemas.microsoft.com/office/drawing/2014/main" id="{45306140-9AE0-4F1A-8E8C-7069C47FC5FA}"/>
              </a:ext>
            </a:extLst>
          </p:cNvPr>
          <p:cNvGrpSpPr/>
          <p:nvPr/>
        </p:nvGrpSpPr>
        <p:grpSpPr>
          <a:xfrm>
            <a:off x="1420033" y="1819150"/>
            <a:ext cx="610433" cy="607132"/>
            <a:chOff x="-64401400" y="1914475"/>
            <a:chExt cx="319000" cy="317275"/>
          </a:xfrm>
        </p:grpSpPr>
        <p:sp>
          <p:nvSpPr>
            <p:cNvPr id="13" name="Google Shape;4946;p133">
              <a:extLst>
                <a:ext uri="{FF2B5EF4-FFF2-40B4-BE49-F238E27FC236}">
                  <a16:creationId xmlns:a16="http://schemas.microsoft.com/office/drawing/2014/main" id="{3715ED41-0CBF-4E54-A951-1ADC24AA96BD}"/>
                </a:ext>
              </a:extLst>
            </p:cNvPr>
            <p:cNvSpPr/>
            <p:nvPr/>
          </p:nvSpPr>
          <p:spPr>
            <a:xfrm>
              <a:off x="-64401400" y="1914475"/>
              <a:ext cx="319000" cy="317275"/>
            </a:xfrm>
            <a:custGeom>
              <a:avLst/>
              <a:gdLst/>
              <a:ahLst/>
              <a:cxnLst/>
              <a:rect l="l" t="t" r="r" b="b"/>
              <a:pathLst>
                <a:path w="12760" h="12691" extrusionOk="0">
                  <a:moveTo>
                    <a:pt x="4726" y="1317"/>
                  </a:moveTo>
                  <a:lnTo>
                    <a:pt x="4726" y="2703"/>
                  </a:lnTo>
                  <a:cubicBezTo>
                    <a:pt x="4663" y="2735"/>
                    <a:pt x="4600" y="2829"/>
                    <a:pt x="4569" y="2861"/>
                  </a:cubicBezTo>
                  <a:lnTo>
                    <a:pt x="4065" y="3554"/>
                  </a:lnTo>
                  <a:cubicBezTo>
                    <a:pt x="3970" y="3176"/>
                    <a:pt x="3907" y="2703"/>
                    <a:pt x="3907" y="2388"/>
                  </a:cubicBezTo>
                  <a:cubicBezTo>
                    <a:pt x="3876" y="1947"/>
                    <a:pt x="3970" y="1632"/>
                    <a:pt x="4222" y="1475"/>
                  </a:cubicBezTo>
                  <a:cubicBezTo>
                    <a:pt x="4348" y="1349"/>
                    <a:pt x="4537" y="1317"/>
                    <a:pt x="4726" y="1317"/>
                  </a:cubicBezTo>
                  <a:close/>
                  <a:moveTo>
                    <a:pt x="7046" y="813"/>
                  </a:moveTo>
                  <a:cubicBezTo>
                    <a:pt x="7507" y="813"/>
                    <a:pt x="7937" y="916"/>
                    <a:pt x="8286" y="1128"/>
                  </a:cubicBezTo>
                  <a:cubicBezTo>
                    <a:pt x="8759" y="1412"/>
                    <a:pt x="8979" y="1821"/>
                    <a:pt x="8948" y="2420"/>
                  </a:cubicBezTo>
                  <a:cubicBezTo>
                    <a:pt x="8948" y="2703"/>
                    <a:pt x="8853" y="3113"/>
                    <a:pt x="8790" y="3554"/>
                  </a:cubicBezTo>
                  <a:lnTo>
                    <a:pt x="8286" y="2861"/>
                  </a:lnTo>
                  <a:cubicBezTo>
                    <a:pt x="8066" y="2609"/>
                    <a:pt x="7814" y="2451"/>
                    <a:pt x="7499" y="2451"/>
                  </a:cubicBezTo>
                  <a:lnTo>
                    <a:pt x="5514" y="2451"/>
                  </a:lnTo>
                  <a:lnTo>
                    <a:pt x="5514" y="1160"/>
                  </a:lnTo>
                  <a:cubicBezTo>
                    <a:pt x="6020" y="931"/>
                    <a:pt x="6551" y="813"/>
                    <a:pt x="7046" y="813"/>
                  </a:cubicBezTo>
                  <a:close/>
                  <a:moveTo>
                    <a:pt x="7530" y="3334"/>
                  </a:moveTo>
                  <a:cubicBezTo>
                    <a:pt x="7562" y="3334"/>
                    <a:pt x="7593" y="3365"/>
                    <a:pt x="7656" y="3365"/>
                  </a:cubicBezTo>
                  <a:lnTo>
                    <a:pt x="8601" y="4657"/>
                  </a:lnTo>
                  <a:cubicBezTo>
                    <a:pt x="8444" y="5917"/>
                    <a:pt x="7688" y="7177"/>
                    <a:pt x="6427" y="7177"/>
                  </a:cubicBezTo>
                  <a:cubicBezTo>
                    <a:pt x="5167" y="7177"/>
                    <a:pt x="4411" y="5980"/>
                    <a:pt x="4254" y="4657"/>
                  </a:cubicBezTo>
                  <a:lnTo>
                    <a:pt x="5199" y="3365"/>
                  </a:lnTo>
                  <a:cubicBezTo>
                    <a:pt x="5230" y="3334"/>
                    <a:pt x="5293" y="3334"/>
                    <a:pt x="5325" y="3334"/>
                  </a:cubicBezTo>
                  <a:close/>
                  <a:moveTo>
                    <a:pt x="5199" y="7681"/>
                  </a:moveTo>
                  <a:cubicBezTo>
                    <a:pt x="5608" y="7902"/>
                    <a:pt x="5986" y="8028"/>
                    <a:pt x="6427" y="8028"/>
                  </a:cubicBezTo>
                  <a:cubicBezTo>
                    <a:pt x="6869" y="8028"/>
                    <a:pt x="7310" y="7902"/>
                    <a:pt x="7688" y="7713"/>
                  </a:cubicBezTo>
                  <a:lnTo>
                    <a:pt x="7688" y="7807"/>
                  </a:lnTo>
                  <a:cubicBezTo>
                    <a:pt x="7688" y="8028"/>
                    <a:pt x="7719" y="8185"/>
                    <a:pt x="7814" y="8343"/>
                  </a:cubicBezTo>
                  <a:lnTo>
                    <a:pt x="6427" y="9634"/>
                  </a:lnTo>
                  <a:lnTo>
                    <a:pt x="5073" y="8280"/>
                  </a:lnTo>
                  <a:cubicBezTo>
                    <a:pt x="5167" y="8122"/>
                    <a:pt x="5199" y="7965"/>
                    <a:pt x="5199" y="7776"/>
                  </a:cubicBezTo>
                  <a:lnTo>
                    <a:pt x="5199" y="7681"/>
                  </a:lnTo>
                  <a:close/>
                  <a:moveTo>
                    <a:pt x="4537" y="8878"/>
                  </a:moveTo>
                  <a:lnTo>
                    <a:pt x="5829" y="10170"/>
                  </a:lnTo>
                  <a:lnTo>
                    <a:pt x="5230" y="10769"/>
                  </a:lnTo>
                  <a:lnTo>
                    <a:pt x="4065" y="9036"/>
                  </a:lnTo>
                  <a:cubicBezTo>
                    <a:pt x="4222" y="9036"/>
                    <a:pt x="4380" y="9004"/>
                    <a:pt x="4537" y="8878"/>
                  </a:cubicBezTo>
                  <a:close/>
                  <a:moveTo>
                    <a:pt x="8318" y="8878"/>
                  </a:moveTo>
                  <a:cubicBezTo>
                    <a:pt x="8475" y="8973"/>
                    <a:pt x="8633" y="9036"/>
                    <a:pt x="8790" y="9036"/>
                  </a:cubicBezTo>
                  <a:lnTo>
                    <a:pt x="7593" y="10769"/>
                  </a:lnTo>
                  <a:lnTo>
                    <a:pt x="7026" y="10170"/>
                  </a:lnTo>
                  <a:lnTo>
                    <a:pt x="8318" y="8878"/>
                  </a:lnTo>
                  <a:close/>
                  <a:moveTo>
                    <a:pt x="10460" y="9067"/>
                  </a:moveTo>
                  <a:cubicBezTo>
                    <a:pt x="11279" y="9067"/>
                    <a:pt x="11941" y="9760"/>
                    <a:pt x="11941" y="10580"/>
                  </a:cubicBezTo>
                  <a:lnTo>
                    <a:pt x="11941" y="11840"/>
                  </a:lnTo>
                  <a:lnTo>
                    <a:pt x="7814" y="11840"/>
                  </a:lnTo>
                  <a:cubicBezTo>
                    <a:pt x="7908" y="11808"/>
                    <a:pt x="8003" y="11745"/>
                    <a:pt x="8034" y="11682"/>
                  </a:cubicBezTo>
                  <a:lnTo>
                    <a:pt x="9798" y="9067"/>
                  </a:lnTo>
                  <a:close/>
                  <a:moveTo>
                    <a:pt x="3088" y="9067"/>
                  </a:moveTo>
                  <a:lnTo>
                    <a:pt x="4852" y="11651"/>
                  </a:lnTo>
                  <a:cubicBezTo>
                    <a:pt x="4915" y="11745"/>
                    <a:pt x="5041" y="11808"/>
                    <a:pt x="5167" y="11840"/>
                  </a:cubicBezTo>
                  <a:lnTo>
                    <a:pt x="5199" y="11840"/>
                  </a:lnTo>
                  <a:cubicBezTo>
                    <a:pt x="5325" y="11840"/>
                    <a:pt x="5419" y="11808"/>
                    <a:pt x="5482" y="11714"/>
                  </a:cubicBezTo>
                  <a:lnTo>
                    <a:pt x="6427" y="10769"/>
                  </a:lnTo>
                  <a:lnTo>
                    <a:pt x="7404" y="11745"/>
                  </a:lnTo>
                  <a:cubicBezTo>
                    <a:pt x="7436" y="11777"/>
                    <a:pt x="7530" y="11840"/>
                    <a:pt x="7593" y="11871"/>
                  </a:cubicBezTo>
                  <a:lnTo>
                    <a:pt x="914" y="11871"/>
                  </a:lnTo>
                  <a:lnTo>
                    <a:pt x="914" y="11840"/>
                  </a:lnTo>
                  <a:lnTo>
                    <a:pt x="914" y="10580"/>
                  </a:lnTo>
                  <a:cubicBezTo>
                    <a:pt x="914" y="9760"/>
                    <a:pt x="1576" y="9067"/>
                    <a:pt x="2395" y="9067"/>
                  </a:cubicBezTo>
                  <a:close/>
                  <a:moveTo>
                    <a:pt x="7043" y="1"/>
                  </a:moveTo>
                  <a:cubicBezTo>
                    <a:pt x="6380" y="1"/>
                    <a:pt x="5673" y="166"/>
                    <a:pt x="5010" y="498"/>
                  </a:cubicBezTo>
                  <a:cubicBezTo>
                    <a:pt x="4898" y="477"/>
                    <a:pt x="4788" y="467"/>
                    <a:pt x="4680" y="467"/>
                  </a:cubicBezTo>
                  <a:cubicBezTo>
                    <a:pt x="4300" y="467"/>
                    <a:pt x="3942" y="592"/>
                    <a:pt x="3624" y="813"/>
                  </a:cubicBezTo>
                  <a:cubicBezTo>
                    <a:pt x="3308" y="1034"/>
                    <a:pt x="2962" y="1506"/>
                    <a:pt x="2962" y="2388"/>
                  </a:cubicBezTo>
                  <a:cubicBezTo>
                    <a:pt x="2962" y="3144"/>
                    <a:pt x="3277" y="4405"/>
                    <a:pt x="3340" y="4625"/>
                  </a:cubicBezTo>
                  <a:cubicBezTo>
                    <a:pt x="3466" y="5570"/>
                    <a:pt x="3781" y="6389"/>
                    <a:pt x="4285" y="6988"/>
                  </a:cubicBezTo>
                  <a:lnTo>
                    <a:pt x="4285" y="7744"/>
                  </a:lnTo>
                  <a:cubicBezTo>
                    <a:pt x="4285" y="8028"/>
                    <a:pt x="4065" y="8248"/>
                    <a:pt x="3781" y="8248"/>
                  </a:cubicBezTo>
                  <a:lnTo>
                    <a:pt x="2332" y="8248"/>
                  </a:lnTo>
                  <a:cubicBezTo>
                    <a:pt x="1072" y="8248"/>
                    <a:pt x="0" y="9288"/>
                    <a:pt x="0" y="10580"/>
                  </a:cubicBezTo>
                  <a:lnTo>
                    <a:pt x="0" y="12281"/>
                  </a:lnTo>
                  <a:cubicBezTo>
                    <a:pt x="0" y="12501"/>
                    <a:pt x="189" y="12690"/>
                    <a:pt x="410" y="12690"/>
                  </a:cubicBezTo>
                  <a:lnTo>
                    <a:pt x="12256" y="12690"/>
                  </a:lnTo>
                  <a:cubicBezTo>
                    <a:pt x="12508" y="12690"/>
                    <a:pt x="12697" y="12501"/>
                    <a:pt x="12697" y="12281"/>
                  </a:cubicBezTo>
                  <a:lnTo>
                    <a:pt x="12697" y="10580"/>
                  </a:lnTo>
                  <a:cubicBezTo>
                    <a:pt x="12760" y="9319"/>
                    <a:pt x="11689" y="8248"/>
                    <a:pt x="10429" y="8248"/>
                  </a:cubicBezTo>
                  <a:lnTo>
                    <a:pt x="8979" y="8248"/>
                  </a:lnTo>
                  <a:cubicBezTo>
                    <a:pt x="8696" y="8248"/>
                    <a:pt x="8475" y="8028"/>
                    <a:pt x="8475" y="7744"/>
                  </a:cubicBezTo>
                  <a:lnTo>
                    <a:pt x="8475" y="6957"/>
                  </a:lnTo>
                  <a:cubicBezTo>
                    <a:pt x="8979" y="6358"/>
                    <a:pt x="9294" y="5539"/>
                    <a:pt x="9389" y="4625"/>
                  </a:cubicBezTo>
                  <a:cubicBezTo>
                    <a:pt x="9546" y="4121"/>
                    <a:pt x="9735" y="3050"/>
                    <a:pt x="9767" y="2420"/>
                  </a:cubicBezTo>
                  <a:cubicBezTo>
                    <a:pt x="9767" y="1538"/>
                    <a:pt x="9420" y="845"/>
                    <a:pt x="8664" y="404"/>
                  </a:cubicBezTo>
                  <a:cubicBezTo>
                    <a:pt x="8202" y="135"/>
                    <a:pt x="7640" y="1"/>
                    <a:pt x="704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Google Shape;4947;p133">
              <a:extLst>
                <a:ext uri="{FF2B5EF4-FFF2-40B4-BE49-F238E27FC236}">
                  <a16:creationId xmlns:a16="http://schemas.microsoft.com/office/drawing/2014/main" id="{F6F921C4-A2C9-4090-AFE3-2F05C7B3B618}"/>
                </a:ext>
              </a:extLst>
            </p:cNvPr>
            <p:cNvSpPr/>
            <p:nvPr/>
          </p:nvSpPr>
          <p:spPr>
            <a:xfrm>
              <a:off x="-64172200" y="2175800"/>
              <a:ext cx="48850" cy="22075"/>
            </a:xfrm>
            <a:custGeom>
              <a:avLst/>
              <a:gdLst/>
              <a:ahLst/>
              <a:cxnLst/>
              <a:rect l="l" t="t" r="r" b="b"/>
              <a:pathLst>
                <a:path w="1954" h="883" extrusionOk="0">
                  <a:moveTo>
                    <a:pt x="410" y="1"/>
                  </a:moveTo>
                  <a:cubicBezTo>
                    <a:pt x="158" y="1"/>
                    <a:pt x="0" y="190"/>
                    <a:pt x="0" y="442"/>
                  </a:cubicBezTo>
                  <a:cubicBezTo>
                    <a:pt x="0" y="662"/>
                    <a:pt x="221" y="883"/>
                    <a:pt x="410" y="883"/>
                  </a:cubicBezTo>
                  <a:lnTo>
                    <a:pt x="1513" y="883"/>
                  </a:lnTo>
                  <a:cubicBezTo>
                    <a:pt x="1765" y="883"/>
                    <a:pt x="1891" y="662"/>
                    <a:pt x="1891" y="442"/>
                  </a:cubicBezTo>
                  <a:cubicBezTo>
                    <a:pt x="1954" y="190"/>
                    <a:pt x="1733" y="1"/>
                    <a:pt x="151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Google Shape;4948;p133">
              <a:extLst>
                <a:ext uri="{FF2B5EF4-FFF2-40B4-BE49-F238E27FC236}">
                  <a16:creationId xmlns:a16="http://schemas.microsoft.com/office/drawing/2014/main" id="{E1A9D5E2-3079-42F8-80C7-EA8E3AAABDD5}"/>
                </a:ext>
              </a:extLst>
            </p:cNvPr>
            <p:cNvSpPr/>
            <p:nvPr/>
          </p:nvSpPr>
          <p:spPr>
            <a:xfrm>
              <a:off x="-64212375" y="2210450"/>
              <a:ext cx="5525" cy="25"/>
            </a:xfrm>
            <a:custGeom>
              <a:avLst/>
              <a:gdLst/>
              <a:ahLst/>
              <a:cxnLst/>
              <a:rect l="l" t="t" r="r" b="b"/>
              <a:pathLst>
                <a:path w="221" h="1" extrusionOk="0">
                  <a:moveTo>
                    <a:pt x="1" y="1"/>
                  </a:moveTo>
                  <a:lnTo>
                    <a:pt x="221" y="1"/>
                  </a:lnTo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6" name="Google Shape;341;p77">
            <a:extLst>
              <a:ext uri="{FF2B5EF4-FFF2-40B4-BE49-F238E27FC236}">
                <a16:creationId xmlns:a16="http://schemas.microsoft.com/office/drawing/2014/main" id="{B56022E2-3BC4-4F25-8CBF-8C2A1C8E4AB3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57829F5-DFAE-47C4-9590-86AD101313DC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39ADA07-1BC8-4D1B-9C72-2B24B54F1DEA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Graphic 18" descr="Video camera with solid fill">
              <a:extLst>
                <a:ext uri="{FF2B5EF4-FFF2-40B4-BE49-F238E27FC236}">
                  <a16:creationId xmlns:a16="http://schemas.microsoft.com/office/drawing/2014/main" id="{3F28E3EA-5604-4A09-9B48-9F0AF95BC33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1EC8CD-6AEE-4BB4-B231-F0FFED8D28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768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1" name="Google Shape;491;p90"/>
          <p:cNvPicPr preferRelativeResize="0"/>
          <p:nvPr/>
        </p:nvPicPr>
        <p:blipFill rotWithShape="1">
          <a:blip r:embed="rId7">
            <a:alphaModFix/>
          </a:blip>
          <a:srcRect l="27577" t="33093" r="35594" b="33096"/>
          <a:stretch/>
        </p:blipFill>
        <p:spPr>
          <a:xfrm>
            <a:off x="3722345" y="2571750"/>
            <a:ext cx="1699310" cy="1560051"/>
          </a:xfrm>
          <a:prstGeom prst="rect">
            <a:avLst/>
          </a:prstGeom>
          <a:noFill/>
          <a:ln>
            <a:noFill/>
          </a:ln>
        </p:spPr>
      </p:pic>
      <p:sp>
        <p:nvSpPr>
          <p:cNvPr id="492" name="Google Shape;492;p90"/>
          <p:cNvSpPr txBox="1">
            <a:spLocks noGrp="1"/>
          </p:cNvSpPr>
          <p:nvPr>
            <p:ph type="ctrTitle" idx="4294967295"/>
          </p:nvPr>
        </p:nvSpPr>
        <p:spPr>
          <a:xfrm flipH="1">
            <a:off x="2063100" y="753352"/>
            <a:ext cx="5017800" cy="135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4400" b="1" dirty="0">
                <a:ea typeface="Nunito Sans"/>
              </a:rPr>
              <a:t>FIVE SIGNETS</a:t>
            </a:r>
            <a:br>
              <a:rPr lang="hu-HU" sz="4400" b="1" dirty="0">
                <a:ea typeface="Nunito Sans"/>
              </a:rPr>
            </a:br>
            <a:r>
              <a:rPr lang="hu-HU" sz="4400" b="1" dirty="0">
                <a:ea typeface="Nunito Sans"/>
              </a:rPr>
              <a:t>CONSULTING</a:t>
            </a:r>
            <a:endParaRPr sz="4400" b="1" dirty="0">
              <a:ea typeface="Nunito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A880B05-DD2E-4A0D-9C1C-352CA3458EE5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3D9223C-9DD2-46A5-A5F9-F09211FE0415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Graphic 6" descr="Video camera with solid fill">
              <a:extLst>
                <a:ext uri="{FF2B5EF4-FFF2-40B4-BE49-F238E27FC236}">
                  <a16:creationId xmlns:a16="http://schemas.microsoft.com/office/drawing/2014/main" id="{80F1F824-C9DE-415F-8F78-48132176DE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0E9B53-83F6-4A20-80F3-111CA61759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214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2" name="Google Shape;1002;p123"/>
          <p:cNvSpPr txBox="1">
            <a:spLocks noGrp="1"/>
          </p:cNvSpPr>
          <p:nvPr>
            <p:ph type="body" idx="1"/>
          </p:nvPr>
        </p:nvSpPr>
        <p:spPr>
          <a:xfrm>
            <a:off x="2780100" y="2134800"/>
            <a:ext cx="3583800" cy="14760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41300" lvl="0" indent="-171450" algn="l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700"/>
              <a:buFont typeface="Roboto Slab Light"/>
              <a:buChar char="⬣"/>
            </a:pPr>
            <a:r>
              <a:rPr lang="en" dirty="0">
                <a:solidFill>
                  <a:schemeClr val="lt1"/>
                </a:solidFill>
              </a:rPr>
              <a:t>Presentation template by </a:t>
            </a:r>
            <a:r>
              <a:rPr lang="en" dirty="0">
                <a:solidFill>
                  <a:schemeClr val="bg1"/>
                </a:solidFill>
                <a:uFill>
                  <a:noFill/>
                </a:u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endParaRPr dirty="0">
              <a:solidFill>
                <a:schemeClr val="bg1"/>
              </a:solidFill>
            </a:endParaRPr>
          </a:p>
          <a:p>
            <a:pPr marL="2413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"/>
              <a:buFont typeface="Roboto Slab Light"/>
              <a:buChar char="⬣"/>
            </a:pPr>
            <a:r>
              <a:rPr lang="en" dirty="0">
                <a:solidFill>
                  <a:schemeClr val="lt1"/>
                </a:solidFill>
              </a:rPr>
              <a:t>Icons by </a:t>
            </a:r>
            <a:r>
              <a:rPr lang="en" dirty="0">
                <a:solidFill>
                  <a:schemeClr val="bg1"/>
                </a:solidFill>
                <a:uFill>
                  <a:noFill/>
                </a:u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1003" name="Google Shape;1003;p123"/>
          <p:cNvSpPr txBox="1">
            <a:spLocks noGrp="1"/>
          </p:cNvSpPr>
          <p:nvPr>
            <p:ph type="ctrTitle"/>
          </p:nvPr>
        </p:nvSpPr>
        <p:spPr>
          <a:xfrm>
            <a:off x="3080975" y="405336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b="1" dirty="0"/>
              <a:t>CREDITS</a:t>
            </a:r>
            <a:endParaRPr b="1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8DF68FD-ACD8-42DF-A745-6B0D85D0D38B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862464B-D67E-409B-A41E-2C55B453E68B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Graphic 6" descr="Video camera with solid fill">
              <a:extLst>
                <a:ext uri="{FF2B5EF4-FFF2-40B4-BE49-F238E27FC236}">
                  <a16:creationId xmlns:a16="http://schemas.microsoft.com/office/drawing/2014/main" id="{86871615-1A75-455E-B4F7-83E99D8FF8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04337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673763-5E0F-4B8E-B76D-015BCA24C3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66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6" name="Google Shape;346;p78"/>
          <p:cNvSpPr txBox="1">
            <a:spLocks noGrp="1"/>
          </p:cNvSpPr>
          <p:nvPr>
            <p:ph type="ctrTitle" idx="13"/>
          </p:nvPr>
        </p:nvSpPr>
        <p:spPr>
          <a:xfrm>
            <a:off x="3081000" y="398750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sz="3200" dirty="0"/>
              <a:t>AGENDA</a:t>
            </a:r>
            <a:endParaRPr sz="3200" dirty="0">
              <a:solidFill>
                <a:schemeClr val="lt1"/>
              </a:solidFill>
            </a:endParaRPr>
          </a:p>
        </p:txBody>
      </p:sp>
      <p:sp>
        <p:nvSpPr>
          <p:cNvPr id="360" name="Google Shape;360;p78"/>
          <p:cNvSpPr/>
          <p:nvPr/>
        </p:nvSpPr>
        <p:spPr>
          <a:xfrm rot="899825">
            <a:off x="-1428322" y="3728927"/>
            <a:ext cx="2950497" cy="2316588"/>
          </a:xfrm>
          <a:prstGeom prst="hexagon">
            <a:avLst>
              <a:gd name="adj" fmla="val 25000"/>
              <a:gd name="vf" fmla="val 115470"/>
            </a:avLst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1" name="Google Shape;361;p78"/>
          <p:cNvSpPr/>
          <p:nvPr/>
        </p:nvSpPr>
        <p:spPr>
          <a:xfrm rot="-3036684">
            <a:off x="6666861" y="3476868"/>
            <a:ext cx="2950470" cy="2316746"/>
          </a:xfrm>
          <a:prstGeom prst="hexagon">
            <a:avLst>
              <a:gd name="adj" fmla="val 25000"/>
              <a:gd name="vf" fmla="val 115470"/>
            </a:avLst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09260E-FE84-4662-A05A-AE4AD483F7A2}"/>
              </a:ext>
            </a:extLst>
          </p:cNvPr>
          <p:cNvSpPr/>
          <p:nvPr/>
        </p:nvSpPr>
        <p:spPr>
          <a:xfrm>
            <a:off x="5110474" y="3171810"/>
            <a:ext cx="1521502" cy="1064301"/>
          </a:xfrm>
          <a:prstGeom prst="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6B123BA-292D-4B82-9139-A6C69DE368A5}"/>
              </a:ext>
            </a:extLst>
          </p:cNvPr>
          <p:cNvSpPr/>
          <p:nvPr/>
        </p:nvSpPr>
        <p:spPr>
          <a:xfrm>
            <a:off x="2333891" y="3015522"/>
            <a:ext cx="1521502" cy="1064301"/>
          </a:xfrm>
          <a:prstGeom prst="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347" name="Google Shape;347;p78"/>
          <p:cNvCxnSpPr/>
          <p:nvPr/>
        </p:nvCxnSpPr>
        <p:spPr>
          <a:xfrm>
            <a:off x="5871225" y="2147249"/>
            <a:ext cx="0" cy="689100"/>
          </a:xfrm>
          <a:prstGeom prst="straightConnector1">
            <a:avLst/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48" name="Google Shape;348;p78"/>
          <p:cNvCxnSpPr/>
          <p:nvPr/>
        </p:nvCxnSpPr>
        <p:spPr>
          <a:xfrm>
            <a:off x="3249525" y="2147249"/>
            <a:ext cx="0" cy="689100"/>
          </a:xfrm>
          <a:prstGeom prst="straightConnector1">
            <a:avLst/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9" name="Google Shape;349;p78"/>
          <p:cNvSpPr txBox="1">
            <a:spLocks noGrp="1"/>
          </p:cNvSpPr>
          <p:nvPr>
            <p:ph type="ctrTitle"/>
          </p:nvPr>
        </p:nvSpPr>
        <p:spPr>
          <a:xfrm>
            <a:off x="1152063" y="2471115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GB" sz="1700" dirty="0"/>
              <a:t>MARKET</a:t>
            </a: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GB" sz="1700" dirty="0"/>
              <a:t> OVERVIEW</a:t>
            </a:r>
          </a:p>
        </p:txBody>
      </p:sp>
      <p:sp>
        <p:nvSpPr>
          <p:cNvPr id="350" name="Google Shape;350;p78"/>
          <p:cNvSpPr txBox="1">
            <a:spLocks noGrp="1"/>
          </p:cNvSpPr>
          <p:nvPr>
            <p:ph type="ctrTitle" idx="3"/>
          </p:nvPr>
        </p:nvSpPr>
        <p:spPr>
          <a:xfrm>
            <a:off x="3648075" y="2471115"/>
            <a:ext cx="18444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hu-HU" sz="1700" dirty="0"/>
              <a:t>OUR SOLUTION</a:t>
            </a:r>
            <a:endParaRPr sz="1700" dirty="0"/>
          </a:p>
        </p:txBody>
      </p:sp>
      <p:sp>
        <p:nvSpPr>
          <p:cNvPr id="351" name="Google Shape;351;p78"/>
          <p:cNvSpPr txBox="1">
            <a:spLocks noGrp="1"/>
          </p:cNvSpPr>
          <p:nvPr>
            <p:ph type="ctrTitle" idx="5"/>
          </p:nvPr>
        </p:nvSpPr>
        <p:spPr>
          <a:xfrm>
            <a:off x="6148801" y="2348565"/>
            <a:ext cx="2196451" cy="8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hu-HU" sz="1700" dirty="0"/>
              <a:t>DELIVERABLES &amp; WHY US?</a:t>
            </a:r>
            <a:endParaRPr sz="1700" dirty="0"/>
          </a:p>
        </p:txBody>
      </p:sp>
      <p:sp>
        <p:nvSpPr>
          <p:cNvPr id="352" name="Google Shape;352;p78"/>
          <p:cNvSpPr txBox="1">
            <a:spLocks noGrp="1"/>
          </p:cNvSpPr>
          <p:nvPr>
            <p:ph type="title" idx="14"/>
          </p:nvPr>
        </p:nvSpPr>
        <p:spPr>
          <a:xfrm>
            <a:off x="1575838" y="2012474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dirty="0">
                <a:solidFill>
                  <a:schemeClr val="lt1"/>
                </a:solidFill>
              </a:rPr>
              <a:t>1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353" name="Google Shape;353;p78"/>
          <p:cNvSpPr txBox="1">
            <a:spLocks noGrp="1"/>
          </p:cNvSpPr>
          <p:nvPr>
            <p:ph type="title" idx="15"/>
          </p:nvPr>
        </p:nvSpPr>
        <p:spPr>
          <a:xfrm>
            <a:off x="4197618" y="2012474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dirty="0">
                <a:solidFill>
                  <a:schemeClr val="lt1"/>
                </a:solidFill>
              </a:rPr>
              <a:t>2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354" name="Google Shape;354;p78"/>
          <p:cNvSpPr txBox="1">
            <a:spLocks noGrp="1"/>
          </p:cNvSpPr>
          <p:nvPr>
            <p:ph type="title" idx="16"/>
          </p:nvPr>
        </p:nvSpPr>
        <p:spPr>
          <a:xfrm>
            <a:off x="6872626" y="2012474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dirty="0">
                <a:solidFill>
                  <a:schemeClr val="lt1"/>
                </a:solidFill>
              </a:rPr>
              <a:t>3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C5611384-BE35-45C0-B82D-7CBB71EA93EF}"/>
              </a:ext>
            </a:extLst>
          </p:cNvPr>
          <p:cNvSpPr/>
          <p:nvPr/>
        </p:nvSpPr>
        <p:spPr>
          <a:xfrm rot="20803414">
            <a:off x="-3909814" y="4975446"/>
            <a:ext cx="11720053" cy="2026920"/>
          </a:xfrm>
          <a:prstGeom prst="snip2DiagRect">
            <a:avLst/>
          </a:prstGeom>
          <a:solidFill>
            <a:schemeClr val="tx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Google Shape;341;p77">
            <a:extLst>
              <a:ext uri="{FF2B5EF4-FFF2-40B4-BE49-F238E27FC236}">
                <a16:creationId xmlns:a16="http://schemas.microsoft.com/office/drawing/2014/main" id="{347C639A-3C3B-4CAB-B22D-F933AEBB7C7C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2D1B9749-340C-4335-ADC8-792FB0167704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560CB9F-57B2-46C2-B6A0-4F11D65BD38B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phic 19" descr="Video camera with solid fill">
              <a:extLst>
                <a:ext uri="{FF2B5EF4-FFF2-40B4-BE49-F238E27FC236}">
                  <a16:creationId xmlns:a16="http://schemas.microsoft.com/office/drawing/2014/main" id="{8FDB24C1-096A-4E7A-8155-4F7548E09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12C569-7614-44C0-A5E9-280F51B95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434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7" name="Google Shape;367;p79"/>
          <p:cNvSpPr txBox="1">
            <a:spLocks noGrp="1"/>
          </p:cNvSpPr>
          <p:nvPr>
            <p:ph type="ctrTitle"/>
          </p:nvPr>
        </p:nvSpPr>
        <p:spPr>
          <a:xfrm flipH="1">
            <a:off x="2029192" y="1970175"/>
            <a:ext cx="5085615" cy="8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hu-HU" sz="3000" dirty="0"/>
              <a:t>1. </a:t>
            </a:r>
            <a:r>
              <a:rPr lang="en" sz="3000" dirty="0"/>
              <a:t>MARKET OVERVIEW</a:t>
            </a:r>
            <a:endParaRPr sz="3000" dirty="0"/>
          </a:p>
        </p:txBody>
      </p:sp>
      <p:sp>
        <p:nvSpPr>
          <p:cNvPr id="369" name="Google Shape;369;p79"/>
          <p:cNvSpPr/>
          <p:nvPr/>
        </p:nvSpPr>
        <p:spPr>
          <a:xfrm>
            <a:off x="-4393055" y="-485625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Google Shape;341;p77">
            <a:extLst>
              <a:ext uri="{FF2B5EF4-FFF2-40B4-BE49-F238E27FC236}">
                <a16:creationId xmlns:a16="http://schemas.microsoft.com/office/drawing/2014/main" id="{E2CF89CB-39A1-4957-B000-B6FF0DD7021F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3C1DF008-E611-4983-BC89-16FFB207481C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916C6F2-F907-4322-9FB0-7C6A3BBECB48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Graphic 7" descr="Video camera with solid fill">
              <a:extLst>
                <a:ext uri="{FF2B5EF4-FFF2-40B4-BE49-F238E27FC236}">
                  <a16:creationId xmlns:a16="http://schemas.microsoft.com/office/drawing/2014/main" id="{E6ED9039-9DB3-42F4-B38F-7880D010B9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78AC675-1225-4873-AC10-DCBF55608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714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8" name="Google Shape;388;p81"/>
          <p:cNvSpPr/>
          <p:nvPr/>
        </p:nvSpPr>
        <p:spPr>
          <a:xfrm>
            <a:off x="-1" y="152400"/>
            <a:ext cx="7881255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5400" lvl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</a:pPr>
            <a:r>
              <a:rPr lang="en-US" sz="2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usehold debt increase mainly due to mortgages</a:t>
            </a:r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DDEC9-EF82-4D12-A041-F7BFA82EFEEF}"/>
              </a:ext>
            </a:extLst>
          </p:cNvPr>
          <p:cNvCxnSpPr/>
          <p:nvPr/>
        </p:nvCxnSpPr>
        <p:spPr>
          <a:xfrm>
            <a:off x="4572000" y="1320804"/>
            <a:ext cx="0" cy="3204481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626" name="Picture 2">
            <a:extLst>
              <a:ext uri="{FF2B5EF4-FFF2-40B4-BE49-F238E27FC236}">
                <a16:creationId xmlns:a16="http://schemas.microsoft.com/office/drawing/2014/main" id="{C0D05FCC-4B69-4C6A-B9D5-17073B8B03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01" b="14779"/>
          <a:stretch/>
        </p:blipFill>
        <p:spPr bwMode="auto">
          <a:xfrm>
            <a:off x="268311" y="1901457"/>
            <a:ext cx="4053838" cy="22993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Google Shape;386;p81">
            <a:extLst>
              <a:ext uri="{FF2B5EF4-FFF2-40B4-BE49-F238E27FC236}">
                <a16:creationId xmlns:a16="http://schemas.microsoft.com/office/drawing/2014/main" id="{30FC61C5-1B84-4212-90E9-0924256776FE}"/>
              </a:ext>
            </a:extLst>
          </p:cNvPr>
          <p:cNvSpPr txBox="1">
            <a:spLocks/>
          </p:cNvSpPr>
          <p:nvPr/>
        </p:nvSpPr>
        <p:spPr>
          <a:xfrm>
            <a:off x="268311" y="1341659"/>
            <a:ext cx="393357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 b="1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Total household debt balance in the US by catego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66E22A-83AB-47EB-9012-DD23761C3A4D}"/>
              </a:ext>
            </a:extLst>
          </p:cNvPr>
          <p:cNvSpPr txBox="1"/>
          <p:nvPr/>
        </p:nvSpPr>
        <p:spPr>
          <a:xfrm>
            <a:off x="174171" y="4779281"/>
            <a:ext cx="4847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New York Fed Consumer Credit Panel/Equifax on Statista (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8"/>
              </a:rPr>
              <a:t>https://www.statista.com/chart/19955/household-debt-balance-in-the-united-states/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en-US" sz="9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9FC5983-5F52-41EB-A5D6-68978E49D0FD}"/>
              </a:ext>
            </a:extLst>
          </p:cNvPr>
          <p:cNvGrpSpPr/>
          <p:nvPr/>
        </p:nvGrpSpPr>
        <p:grpSpPr>
          <a:xfrm>
            <a:off x="4945616" y="2112507"/>
            <a:ext cx="3694101" cy="1877219"/>
            <a:chOff x="4945616" y="2112507"/>
            <a:chExt cx="3694101" cy="1877219"/>
          </a:xfrm>
        </p:grpSpPr>
        <p:sp>
          <p:nvSpPr>
            <p:cNvPr id="17" name="Google Shape;386;p81">
              <a:extLst>
                <a:ext uri="{FF2B5EF4-FFF2-40B4-BE49-F238E27FC236}">
                  <a16:creationId xmlns:a16="http://schemas.microsoft.com/office/drawing/2014/main" id="{FB66D8EE-8153-4E50-94CF-B88BF707F129}"/>
                </a:ext>
              </a:extLst>
            </p:cNvPr>
            <p:cNvSpPr txBox="1">
              <a:spLocks/>
            </p:cNvSpPr>
            <p:nvPr/>
          </p:nvSpPr>
          <p:spPr>
            <a:xfrm>
              <a:off x="5848333" y="2112507"/>
              <a:ext cx="2791384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1pPr>
              <a:lvl2pPr marR="0" lvl="1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2pPr>
              <a:lvl3pPr marR="0" lvl="2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3pPr>
              <a:lvl4pPr marR="0" lvl="3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4pPr>
              <a:lvl5pPr marR="0" lvl="4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5pPr>
              <a:lvl6pPr marR="0" lvl="5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6pPr>
              <a:lvl7pPr marR="0" lvl="6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7pPr>
              <a:lvl8pPr marR="0" lvl="7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8pPr>
              <a:lvl9pPr marR="0" lvl="8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9pPr>
            </a:lstStyle>
            <a:p>
              <a:pPr algn="l"/>
              <a:r>
                <a:rPr lang="en-US" dirty="0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rPr>
                <a:t>Rising debt balance throughout the pandemic mostly driven by mortgages and auto loans</a:t>
              </a:r>
            </a:p>
          </p:txBody>
        </p:sp>
        <p:grpSp>
          <p:nvGrpSpPr>
            <p:cNvPr id="19" name="Google Shape;4913;p133">
              <a:extLst>
                <a:ext uri="{FF2B5EF4-FFF2-40B4-BE49-F238E27FC236}">
                  <a16:creationId xmlns:a16="http://schemas.microsoft.com/office/drawing/2014/main" id="{63EE74CB-DF2B-4F84-AD7E-239B5F264B78}"/>
                </a:ext>
              </a:extLst>
            </p:cNvPr>
            <p:cNvGrpSpPr/>
            <p:nvPr/>
          </p:nvGrpSpPr>
          <p:grpSpPr>
            <a:xfrm>
              <a:off x="4945616" y="2112507"/>
              <a:ext cx="639964" cy="646331"/>
              <a:chOff x="-64764500" y="2280550"/>
              <a:chExt cx="316650" cy="319800"/>
            </a:xfrm>
          </p:grpSpPr>
          <p:sp>
            <p:nvSpPr>
              <p:cNvPr id="20" name="Google Shape;4914;p133">
                <a:extLst>
                  <a:ext uri="{FF2B5EF4-FFF2-40B4-BE49-F238E27FC236}">
                    <a16:creationId xmlns:a16="http://schemas.microsoft.com/office/drawing/2014/main" id="{9F201013-AED1-4CB5-8667-134904D4623A}"/>
                  </a:ext>
                </a:extLst>
              </p:cNvPr>
              <p:cNvSpPr/>
              <p:nvPr/>
            </p:nvSpPr>
            <p:spPr>
              <a:xfrm>
                <a:off x="-64764500" y="2280550"/>
                <a:ext cx="316650" cy="319800"/>
              </a:xfrm>
              <a:custGeom>
                <a:avLst/>
                <a:gdLst/>
                <a:ahLst/>
                <a:cxnLst/>
                <a:rect l="l" t="t" r="r" b="b"/>
                <a:pathLst>
                  <a:path w="12666" h="12792" extrusionOk="0">
                    <a:moveTo>
                      <a:pt x="11405" y="820"/>
                    </a:moveTo>
                    <a:cubicBezTo>
                      <a:pt x="11657" y="820"/>
                      <a:pt x="11815" y="1009"/>
                      <a:pt x="11815" y="1261"/>
                    </a:cubicBezTo>
                    <a:cubicBezTo>
                      <a:pt x="11815" y="1481"/>
                      <a:pt x="11657" y="1670"/>
                      <a:pt x="11405" y="1670"/>
                    </a:cubicBezTo>
                    <a:lnTo>
                      <a:pt x="1229" y="1670"/>
                    </a:lnTo>
                    <a:cubicBezTo>
                      <a:pt x="977" y="1670"/>
                      <a:pt x="788" y="1481"/>
                      <a:pt x="788" y="1261"/>
                    </a:cubicBezTo>
                    <a:cubicBezTo>
                      <a:pt x="788" y="1009"/>
                      <a:pt x="977" y="820"/>
                      <a:pt x="1229" y="820"/>
                    </a:cubicBezTo>
                    <a:close/>
                    <a:moveTo>
                      <a:pt x="10996" y="2521"/>
                    </a:moveTo>
                    <a:lnTo>
                      <a:pt x="10996" y="8286"/>
                    </a:lnTo>
                    <a:lnTo>
                      <a:pt x="1607" y="8286"/>
                    </a:lnTo>
                    <a:lnTo>
                      <a:pt x="1607" y="2521"/>
                    </a:lnTo>
                    <a:close/>
                    <a:moveTo>
                      <a:pt x="6302" y="11027"/>
                    </a:moveTo>
                    <a:cubicBezTo>
                      <a:pt x="6554" y="11027"/>
                      <a:pt x="6743" y="11216"/>
                      <a:pt x="6743" y="11437"/>
                    </a:cubicBezTo>
                    <a:cubicBezTo>
                      <a:pt x="6743" y="11689"/>
                      <a:pt x="6522" y="11878"/>
                      <a:pt x="6302" y="11878"/>
                    </a:cubicBezTo>
                    <a:cubicBezTo>
                      <a:pt x="6050" y="11878"/>
                      <a:pt x="5892" y="11689"/>
                      <a:pt x="5892" y="11437"/>
                    </a:cubicBezTo>
                    <a:cubicBezTo>
                      <a:pt x="5892" y="11216"/>
                      <a:pt x="6113" y="11027"/>
                      <a:pt x="6302" y="11027"/>
                    </a:cubicBezTo>
                    <a:close/>
                    <a:moveTo>
                      <a:pt x="1229" y="1"/>
                    </a:moveTo>
                    <a:cubicBezTo>
                      <a:pt x="536" y="1"/>
                      <a:pt x="1" y="536"/>
                      <a:pt x="1" y="1261"/>
                    </a:cubicBezTo>
                    <a:cubicBezTo>
                      <a:pt x="1" y="1797"/>
                      <a:pt x="347" y="2238"/>
                      <a:pt x="820" y="2427"/>
                    </a:cubicBezTo>
                    <a:lnTo>
                      <a:pt x="820" y="8286"/>
                    </a:lnTo>
                    <a:lnTo>
                      <a:pt x="442" y="8286"/>
                    </a:lnTo>
                    <a:cubicBezTo>
                      <a:pt x="190" y="8286"/>
                      <a:pt x="32" y="8507"/>
                      <a:pt x="32" y="8728"/>
                    </a:cubicBezTo>
                    <a:cubicBezTo>
                      <a:pt x="32" y="8980"/>
                      <a:pt x="221" y="9169"/>
                      <a:pt x="442" y="9169"/>
                    </a:cubicBezTo>
                    <a:lnTo>
                      <a:pt x="5955" y="9169"/>
                    </a:lnTo>
                    <a:lnTo>
                      <a:pt x="5955" y="10334"/>
                    </a:lnTo>
                    <a:cubicBezTo>
                      <a:pt x="5483" y="10492"/>
                      <a:pt x="5104" y="10964"/>
                      <a:pt x="5104" y="11531"/>
                    </a:cubicBezTo>
                    <a:cubicBezTo>
                      <a:pt x="5104" y="12193"/>
                      <a:pt x="5672" y="12792"/>
                      <a:pt x="6333" y="12792"/>
                    </a:cubicBezTo>
                    <a:cubicBezTo>
                      <a:pt x="6995" y="12792"/>
                      <a:pt x="7593" y="12225"/>
                      <a:pt x="7593" y="11531"/>
                    </a:cubicBezTo>
                    <a:cubicBezTo>
                      <a:pt x="7593" y="10964"/>
                      <a:pt x="7247" y="10555"/>
                      <a:pt x="6774" y="10334"/>
                    </a:cubicBezTo>
                    <a:lnTo>
                      <a:pt x="6774" y="9169"/>
                    </a:lnTo>
                    <a:lnTo>
                      <a:pt x="12288" y="9169"/>
                    </a:lnTo>
                    <a:cubicBezTo>
                      <a:pt x="12508" y="9169"/>
                      <a:pt x="12666" y="8980"/>
                      <a:pt x="12666" y="8728"/>
                    </a:cubicBezTo>
                    <a:cubicBezTo>
                      <a:pt x="12666" y="8507"/>
                      <a:pt x="12477" y="8286"/>
                      <a:pt x="12288" y="8286"/>
                    </a:cubicBezTo>
                    <a:lnTo>
                      <a:pt x="11847" y="8286"/>
                    </a:lnTo>
                    <a:lnTo>
                      <a:pt x="11847" y="2427"/>
                    </a:lnTo>
                    <a:cubicBezTo>
                      <a:pt x="12319" y="2238"/>
                      <a:pt x="12634" y="1797"/>
                      <a:pt x="12634" y="1261"/>
                    </a:cubicBezTo>
                    <a:cubicBezTo>
                      <a:pt x="12634" y="568"/>
                      <a:pt x="12099" y="1"/>
                      <a:pt x="11405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Google Shape;4915;p133">
                <a:extLst>
                  <a:ext uri="{FF2B5EF4-FFF2-40B4-BE49-F238E27FC236}">
                    <a16:creationId xmlns:a16="http://schemas.microsoft.com/office/drawing/2014/main" id="{91ADE587-4D61-47E8-8F1B-3B2DF6B707A1}"/>
                  </a:ext>
                </a:extLst>
              </p:cNvPr>
              <p:cNvSpPr/>
              <p:nvPr/>
            </p:nvSpPr>
            <p:spPr>
              <a:xfrm>
                <a:off x="-64679425" y="2364825"/>
                <a:ext cx="146500" cy="102450"/>
              </a:xfrm>
              <a:custGeom>
                <a:avLst/>
                <a:gdLst/>
                <a:ahLst/>
                <a:cxnLst/>
                <a:rect l="l" t="t" r="r" b="b"/>
                <a:pathLst>
                  <a:path w="5860" h="4098" extrusionOk="0">
                    <a:moveTo>
                      <a:pt x="3749" y="1"/>
                    </a:moveTo>
                    <a:cubicBezTo>
                      <a:pt x="3529" y="1"/>
                      <a:pt x="3371" y="190"/>
                      <a:pt x="3371" y="442"/>
                    </a:cubicBezTo>
                    <a:cubicBezTo>
                      <a:pt x="3371" y="662"/>
                      <a:pt x="3560" y="820"/>
                      <a:pt x="3749" y="820"/>
                    </a:cubicBezTo>
                    <a:lnTo>
                      <a:pt x="4442" y="820"/>
                    </a:lnTo>
                    <a:lnTo>
                      <a:pt x="2930" y="2332"/>
                    </a:lnTo>
                    <a:lnTo>
                      <a:pt x="2395" y="1765"/>
                    </a:lnTo>
                    <a:cubicBezTo>
                      <a:pt x="2316" y="1686"/>
                      <a:pt x="2206" y="1647"/>
                      <a:pt x="2095" y="1647"/>
                    </a:cubicBezTo>
                    <a:cubicBezTo>
                      <a:pt x="1985" y="1647"/>
                      <a:pt x="1875" y="1686"/>
                      <a:pt x="1796" y="1765"/>
                    </a:cubicBezTo>
                    <a:lnTo>
                      <a:pt x="126" y="3435"/>
                    </a:lnTo>
                    <a:cubicBezTo>
                      <a:pt x="0" y="3592"/>
                      <a:pt x="0" y="3844"/>
                      <a:pt x="126" y="4033"/>
                    </a:cubicBezTo>
                    <a:cubicBezTo>
                      <a:pt x="195" y="4075"/>
                      <a:pt x="288" y="4098"/>
                      <a:pt x="384" y="4098"/>
                    </a:cubicBezTo>
                    <a:cubicBezTo>
                      <a:pt x="507" y="4098"/>
                      <a:pt x="636" y="4059"/>
                      <a:pt x="725" y="3970"/>
                    </a:cubicBezTo>
                    <a:lnTo>
                      <a:pt x="2111" y="2616"/>
                    </a:lnTo>
                    <a:lnTo>
                      <a:pt x="2647" y="3151"/>
                    </a:lnTo>
                    <a:cubicBezTo>
                      <a:pt x="2725" y="3230"/>
                      <a:pt x="2836" y="3269"/>
                      <a:pt x="2946" y="3269"/>
                    </a:cubicBezTo>
                    <a:cubicBezTo>
                      <a:pt x="3056" y="3269"/>
                      <a:pt x="3166" y="3230"/>
                      <a:pt x="3245" y="3151"/>
                    </a:cubicBezTo>
                    <a:lnTo>
                      <a:pt x="5009" y="1387"/>
                    </a:lnTo>
                    <a:lnTo>
                      <a:pt x="5009" y="2049"/>
                    </a:lnTo>
                    <a:cubicBezTo>
                      <a:pt x="5009" y="2269"/>
                      <a:pt x="5230" y="2490"/>
                      <a:pt x="5451" y="2490"/>
                    </a:cubicBezTo>
                    <a:cubicBezTo>
                      <a:pt x="5703" y="2490"/>
                      <a:pt x="5860" y="2269"/>
                      <a:pt x="5860" y="2049"/>
                    </a:cubicBezTo>
                    <a:lnTo>
                      <a:pt x="5860" y="410"/>
                    </a:lnTo>
                    <a:cubicBezTo>
                      <a:pt x="5860" y="158"/>
                      <a:pt x="5640" y="1"/>
                      <a:pt x="5419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7" name="Google Shape;4900;p133">
              <a:extLst>
                <a:ext uri="{FF2B5EF4-FFF2-40B4-BE49-F238E27FC236}">
                  <a16:creationId xmlns:a16="http://schemas.microsoft.com/office/drawing/2014/main" id="{353FEC49-EF93-4F17-A877-626623BBA0A6}"/>
                </a:ext>
              </a:extLst>
            </p:cNvPr>
            <p:cNvGrpSpPr/>
            <p:nvPr/>
          </p:nvGrpSpPr>
          <p:grpSpPr>
            <a:xfrm>
              <a:off x="4945625" y="3349771"/>
              <a:ext cx="639955" cy="639955"/>
              <a:chOff x="-61354875" y="2671225"/>
              <a:chExt cx="316650" cy="316650"/>
            </a:xfrm>
          </p:grpSpPr>
          <p:sp>
            <p:nvSpPr>
              <p:cNvPr id="28" name="Google Shape;4901;p133">
                <a:extLst>
                  <a:ext uri="{FF2B5EF4-FFF2-40B4-BE49-F238E27FC236}">
                    <a16:creationId xmlns:a16="http://schemas.microsoft.com/office/drawing/2014/main" id="{6C627469-F9AD-4160-97AC-CCA3FDD7EE22}"/>
                  </a:ext>
                </a:extLst>
              </p:cNvPr>
              <p:cNvSpPr/>
              <p:nvPr/>
            </p:nvSpPr>
            <p:spPr>
              <a:xfrm>
                <a:off x="-61354875" y="2671225"/>
                <a:ext cx="316650" cy="316650"/>
              </a:xfrm>
              <a:custGeom>
                <a:avLst/>
                <a:gdLst/>
                <a:ahLst/>
                <a:cxnLst/>
                <a:rect l="l" t="t" r="r" b="b"/>
                <a:pathLst>
                  <a:path w="12666" h="12666" extrusionOk="0">
                    <a:moveTo>
                      <a:pt x="11405" y="1701"/>
                    </a:moveTo>
                    <a:cubicBezTo>
                      <a:pt x="11657" y="1701"/>
                      <a:pt x="11847" y="1890"/>
                      <a:pt x="11847" y="2111"/>
                    </a:cubicBezTo>
                    <a:lnTo>
                      <a:pt x="11847" y="3340"/>
                    </a:lnTo>
                    <a:lnTo>
                      <a:pt x="820" y="3340"/>
                    </a:lnTo>
                    <a:lnTo>
                      <a:pt x="820" y="2111"/>
                    </a:lnTo>
                    <a:cubicBezTo>
                      <a:pt x="820" y="1890"/>
                      <a:pt x="1009" y="1701"/>
                      <a:pt x="1198" y="1701"/>
                    </a:cubicBezTo>
                    <a:lnTo>
                      <a:pt x="1639" y="1701"/>
                    </a:lnTo>
                    <a:lnTo>
                      <a:pt x="1639" y="2111"/>
                    </a:lnTo>
                    <a:cubicBezTo>
                      <a:pt x="1639" y="2363"/>
                      <a:pt x="1828" y="2552"/>
                      <a:pt x="2048" y="2552"/>
                    </a:cubicBezTo>
                    <a:cubicBezTo>
                      <a:pt x="2237" y="2552"/>
                      <a:pt x="2427" y="2363"/>
                      <a:pt x="2427" y="2111"/>
                    </a:cubicBezTo>
                    <a:lnTo>
                      <a:pt x="2427" y="1701"/>
                    </a:lnTo>
                    <a:lnTo>
                      <a:pt x="5892" y="1701"/>
                    </a:lnTo>
                    <a:lnTo>
                      <a:pt x="5892" y="2111"/>
                    </a:lnTo>
                    <a:cubicBezTo>
                      <a:pt x="5892" y="2363"/>
                      <a:pt x="6081" y="2552"/>
                      <a:pt x="6333" y="2552"/>
                    </a:cubicBezTo>
                    <a:cubicBezTo>
                      <a:pt x="6585" y="2552"/>
                      <a:pt x="6743" y="2363"/>
                      <a:pt x="6743" y="2111"/>
                    </a:cubicBezTo>
                    <a:lnTo>
                      <a:pt x="6743" y="1701"/>
                    </a:lnTo>
                    <a:lnTo>
                      <a:pt x="10208" y="1701"/>
                    </a:lnTo>
                    <a:lnTo>
                      <a:pt x="10208" y="2111"/>
                    </a:lnTo>
                    <a:cubicBezTo>
                      <a:pt x="10208" y="2363"/>
                      <a:pt x="10397" y="2552"/>
                      <a:pt x="10618" y="2552"/>
                    </a:cubicBezTo>
                    <a:cubicBezTo>
                      <a:pt x="10870" y="2552"/>
                      <a:pt x="11027" y="2363"/>
                      <a:pt x="11027" y="2111"/>
                    </a:cubicBezTo>
                    <a:lnTo>
                      <a:pt x="11027" y="1701"/>
                    </a:lnTo>
                    <a:close/>
                    <a:moveTo>
                      <a:pt x="11878" y="4159"/>
                    </a:moveTo>
                    <a:lnTo>
                      <a:pt x="11878" y="6112"/>
                    </a:lnTo>
                    <a:lnTo>
                      <a:pt x="11847" y="6112"/>
                    </a:lnTo>
                    <a:cubicBezTo>
                      <a:pt x="11090" y="5072"/>
                      <a:pt x="9862" y="4442"/>
                      <a:pt x="8538" y="4442"/>
                    </a:cubicBezTo>
                    <a:cubicBezTo>
                      <a:pt x="6239" y="4442"/>
                      <a:pt x="4411" y="6301"/>
                      <a:pt x="4411" y="8569"/>
                    </a:cubicBezTo>
                    <a:cubicBezTo>
                      <a:pt x="4411" y="9168"/>
                      <a:pt x="4506" y="9735"/>
                      <a:pt x="4758" y="10239"/>
                    </a:cubicBezTo>
                    <a:lnTo>
                      <a:pt x="1261" y="10239"/>
                    </a:lnTo>
                    <a:cubicBezTo>
                      <a:pt x="1009" y="10239"/>
                      <a:pt x="851" y="10050"/>
                      <a:pt x="851" y="9830"/>
                    </a:cubicBezTo>
                    <a:lnTo>
                      <a:pt x="851" y="4159"/>
                    </a:lnTo>
                    <a:close/>
                    <a:moveTo>
                      <a:pt x="8538" y="5261"/>
                    </a:moveTo>
                    <a:cubicBezTo>
                      <a:pt x="10334" y="5261"/>
                      <a:pt x="11847" y="6774"/>
                      <a:pt x="11847" y="8569"/>
                    </a:cubicBezTo>
                    <a:cubicBezTo>
                      <a:pt x="11847" y="10397"/>
                      <a:pt x="10334" y="11877"/>
                      <a:pt x="8538" y="11877"/>
                    </a:cubicBezTo>
                    <a:cubicBezTo>
                      <a:pt x="6711" y="11877"/>
                      <a:pt x="5230" y="10397"/>
                      <a:pt x="5230" y="8569"/>
                    </a:cubicBezTo>
                    <a:cubicBezTo>
                      <a:pt x="5230" y="6774"/>
                      <a:pt x="6743" y="5261"/>
                      <a:pt x="8538" y="5261"/>
                    </a:cubicBezTo>
                    <a:close/>
                    <a:moveTo>
                      <a:pt x="2048" y="0"/>
                    </a:moveTo>
                    <a:cubicBezTo>
                      <a:pt x="1828" y="0"/>
                      <a:pt x="1639" y="189"/>
                      <a:pt x="1639" y="441"/>
                    </a:cubicBezTo>
                    <a:lnTo>
                      <a:pt x="1639" y="851"/>
                    </a:lnTo>
                    <a:lnTo>
                      <a:pt x="1198" y="851"/>
                    </a:lnTo>
                    <a:cubicBezTo>
                      <a:pt x="536" y="851"/>
                      <a:pt x="1" y="1418"/>
                      <a:pt x="1" y="2079"/>
                    </a:cubicBezTo>
                    <a:lnTo>
                      <a:pt x="1" y="9798"/>
                    </a:lnTo>
                    <a:cubicBezTo>
                      <a:pt x="1" y="10460"/>
                      <a:pt x="536" y="11027"/>
                      <a:pt x="1198" y="11027"/>
                    </a:cubicBezTo>
                    <a:lnTo>
                      <a:pt x="5230" y="11027"/>
                    </a:lnTo>
                    <a:cubicBezTo>
                      <a:pt x="5987" y="12003"/>
                      <a:pt x="7184" y="12665"/>
                      <a:pt x="8538" y="12665"/>
                    </a:cubicBezTo>
                    <a:cubicBezTo>
                      <a:pt x="10807" y="12665"/>
                      <a:pt x="12666" y="10838"/>
                      <a:pt x="12666" y="8538"/>
                    </a:cubicBezTo>
                    <a:lnTo>
                      <a:pt x="12666" y="2079"/>
                    </a:lnTo>
                    <a:cubicBezTo>
                      <a:pt x="12666" y="1418"/>
                      <a:pt x="12130" y="851"/>
                      <a:pt x="11405" y="851"/>
                    </a:cubicBezTo>
                    <a:lnTo>
                      <a:pt x="11027" y="851"/>
                    </a:lnTo>
                    <a:lnTo>
                      <a:pt x="11027" y="441"/>
                    </a:lnTo>
                    <a:cubicBezTo>
                      <a:pt x="11027" y="189"/>
                      <a:pt x="10807" y="0"/>
                      <a:pt x="10618" y="0"/>
                    </a:cubicBezTo>
                    <a:cubicBezTo>
                      <a:pt x="10397" y="0"/>
                      <a:pt x="10177" y="189"/>
                      <a:pt x="10177" y="441"/>
                    </a:cubicBezTo>
                    <a:lnTo>
                      <a:pt x="10177" y="851"/>
                    </a:lnTo>
                    <a:lnTo>
                      <a:pt x="6711" y="851"/>
                    </a:lnTo>
                    <a:lnTo>
                      <a:pt x="6711" y="441"/>
                    </a:lnTo>
                    <a:cubicBezTo>
                      <a:pt x="6711" y="189"/>
                      <a:pt x="6522" y="0"/>
                      <a:pt x="6333" y="0"/>
                    </a:cubicBezTo>
                    <a:cubicBezTo>
                      <a:pt x="6081" y="0"/>
                      <a:pt x="5892" y="189"/>
                      <a:pt x="5892" y="441"/>
                    </a:cubicBezTo>
                    <a:lnTo>
                      <a:pt x="5892" y="851"/>
                    </a:lnTo>
                    <a:lnTo>
                      <a:pt x="2427" y="851"/>
                    </a:lnTo>
                    <a:lnTo>
                      <a:pt x="2427" y="441"/>
                    </a:lnTo>
                    <a:cubicBezTo>
                      <a:pt x="2427" y="189"/>
                      <a:pt x="2237" y="0"/>
                      <a:pt x="204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" name="Google Shape;4902;p133">
                <a:extLst>
                  <a:ext uri="{FF2B5EF4-FFF2-40B4-BE49-F238E27FC236}">
                    <a16:creationId xmlns:a16="http://schemas.microsoft.com/office/drawing/2014/main" id="{2B5CC945-F75F-4DBF-B63D-B451FEDF93C9}"/>
                  </a:ext>
                </a:extLst>
              </p:cNvPr>
              <p:cNvSpPr/>
              <p:nvPr/>
            </p:nvSpPr>
            <p:spPr>
              <a:xfrm>
                <a:off x="-61172925" y="2813775"/>
                <a:ext cx="62225" cy="145725"/>
              </a:xfrm>
              <a:custGeom>
                <a:avLst/>
                <a:gdLst/>
                <a:ahLst/>
                <a:cxnLst/>
                <a:rect l="l" t="t" r="r" b="b"/>
                <a:pathLst>
                  <a:path w="2489" h="5829" extrusionOk="0">
                    <a:moveTo>
                      <a:pt x="1260" y="0"/>
                    </a:moveTo>
                    <a:cubicBezTo>
                      <a:pt x="1008" y="0"/>
                      <a:pt x="819" y="190"/>
                      <a:pt x="819" y="410"/>
                    </a:cubicBezTo>
                    <a:lnTo>
                      <a:pt x="819" y="662"/>
                    </a:lnTo>
                    <a:cubicBezTo>
                      <a:pt x="347" y="820"/>
                      <a:pt x="0" y="1292"/>
                      <a:pt x="0" y="1859"/>
                    </a:cubicBezTo>
                    <a:cubicBezTo>
                      <a:pt x="0" y="2521"/>
                      <a:pt x="536" y="2899"/>
                      <a:pt x="977" y="3245"/>
                    </a:cubicBezTo>
                    <a:cubicBezTo>
                      <a:pt x="1292" y="3466"/>
                      <a:pt x="1639" y="3687"/>
                      <a:pt x="1639" y="3939"/>
                    </a:cubicBezTo>
                    <a:cubicBezTo>
                      <a:pt x="1639" y="4191"/>
                      <a:pt x="1450" y="4380"/>
                      <a:pt x="1260" y="4380"/>
                    </a:cubicBezTo>
                    <a:cubicBezTo>
                      <a:pt x="1008" y="4380"/>
                      <a:pt x="819" y="4191"/>
                      <a:pt x="819" y="3939"/>
                    </a:cubicBezTo>
                    <a:cubicBezTo>
                      <a:pt x="819" y="3718"/>
                      <a:pt x="630" y="3498"/>
                      <a:pt x="441" y="3498"/>
                    </a:cubicBezTo>
                    <a:cubicBezTo>
                      <a:pt x="189" y="3498"/>
                      <a:pt x="0" y="3718"/>
                      <a:pt x="0" y="3939"/>
                    </a:cubicBezTo>
                    <a:cubicBezTo>
                      <a:pt x="0" y="4506"/>
                      <a:pt x="347" y="4915"/>
                      <a:pt x="819" y="5136"/>
                    </a:cubicBezTo>
                    <a:lnTo>
                      <a:pt x="819" y="5388"/>
                    </a:lnTo>
                    <a:cubicBezTo>
                      <a:pt x="819" y="5640"/>
                      <a:pt x="1008" y="5829"/>
                      <a:pt x="1260" y="5829"/>
                    </a:cubicBezTo>
                    <a:cubicBezTo>
                      <a:pt x="1481" y="5829"/>
                      <a:pt x="1639" y="5640"/>
                      <a:pt x="1639" y="5388"/>
                    </a:cubicBezTo>
                    <a:lnTo>
                      <a:pt x="1639" y="5136"/>
                    </a:lnTo>
                    <a:cubicBezTo>
                      <a:pt x="2111" y="4978"/>
                      <a:pt x="2489" y="4506"/>
                      <a:pt x="2489" y="3939"/>
                    </a:cubicBezTo>
                    <a:cubicBezTo>
                      <a:pt x="2489" y="3277"/>
                      <a:pt x="1922" y="2867"/>
                      <a:pt x="1481" y="2552"/>
                    </a:cubicBezTo>
                    <a:cubicBezTo>
                      <a:pt x="1166" y="2332"/>
                      <a:pt x="819" y="2080"/>
                      <a:pt x="819" y="1859"/>
                    </a:cubicBezTo>
                    <a:cubicBezTo>
                      <a:pt x="819" y="1607"/>
                      <a:pt x="1008" y="1418"/>
                      <a:pt x="1260" y="1418"/>
                    </a:cubicBezTo>
                    <a:cubicBezTo>
                      <a:pt x="1513" y="1418"/>
                      <a:pt x="1639" y="1607"/>
                      <a:pt x="1639" y="1859"/>
                    </a:cubicBezTo>
                    <a:cubicBezTo>
                      <a:pt x="1639" y="2080"/>
                      <a:pt x="1859" y="2269"/>
                      <a:pt x="2048" y="2269"/>
                    </a:cubicBezTo>
                    <a:cubicBezTo>
                      <a:pt x="2300" y="2269"/>
                      <a:pt x="2489" y="2080"/>
                      <a:pt x="2489" y="1859"/>
                    </a:cubicBezTo>
                    <a:cubicBezTo>
                      <a:pt x="2489" y="1292"/>
                      <a:pt x="2143" y="883"/>
                      <a:pt x="1639" y="662"/>
                    </a:cubicBezTo>
                    <a:lnTo>
                      <a:pt x="1639" y="410"/>
                    </a:lnTo>
                    <a:cubicBezTo>
                      <a:pt x="1639" y="158"/>
                      <a:pt x="1450" y="0"/>
                      <a:pt x="126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" name="Google Shape;4903;p133">
                <a:extLst>
                  <a:ext uri="{FF2B5EF4-FFF2-40B4-BE49-F238E27FC236}">
                    <a16:creationId xmlns:a16="http://schemas.microsoft.com/office/drawing/2014/main" id="{D97B2FF4-E8AE-404F-98FB-CCB0AA9B79E7}"/>
                  </a:ext>
                </a:extLst>
              </p:cNvPr>
              <p:cNvSpPr/>
              <p:nvPr/>
            </p:nvSpPr>
            <p:spPr>
              <a:xfrm>
                <a:off x="-61313925" y="2796450"/>
                <a:ext cx="4097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1639" h="820" extrusionOk="0">
                    <a:moveTo>
                      <a:pt x="410" y="0"/>
                    </a:moveTo>
                    <a:cubicBezTo>
                      <a:pt x="158" y="0"/>
                      <a:pt x="1" y="189"/>
                      <a:pt x="1" y="378"/>
                    </a:cubicBezTo>
                    <a:cubicBezTo>
                      <a:pt x="1" y="630"/>
                      <a:pt x="158" y="820"/>
                      <a:pt x="410" y="820"/>
                    </a:cubicBezTo>
                    <a:lnTo>
                      <a:pt x="1230" y="820"/>
                    </a:lnTo>
                    <a:cubicBezTo>
                      <a:pt x="1482" y="820"/>
                      <a:pt x="1639" y="630"/>
                      <a:pt x="1639" y="378"/>
                    </a:cubicBezTo>
                    <a:cubicBezTo>
                      <a:pt x="1639" y="158"/>
                      <a:pt x="1419" y="0"/>
                      <a:pt x="123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1" name="Google Shape;4904;p133">
                <a:extLst>
                  <a:ext uri="{FF2B5EF4-FFF2-40B4-BE49-F238E27FC236}">
                    <a16:creationId xmlns:a16="http://schemas.microsoft.com/office/drawing/2014/main" id="{FEB2BC52-57E6-4430-8016-98CD766DB82A}"/>
                  </a:ext>
                </a:extLst>
              </p:cNvPr>
              <p:cNvSpPr/>
              <p:nvPr/>
            </p:nvSpPr>
            <p:spPr>
              <a:xfrm>
                <a:off x="-61313925" y="2837400"/>
                <a:ext cx="4097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1639" h="820" extrusionOk="0">
                    <a:moveTo>
                      <a:pt x="410" y="1"/>
                    </a:moveTo>
                    <a:cubicBezTo>
                      <a:pt x="158" y="1"/>
                      <a:pt x="1" y="190"/>
                      <a:pt x="1" y="442"/>
                    </a:cubicBezTo>
                    <a:cubicBezTo>
                      <a:pt x="1" y="631"/>
                      <a:pt x="158" y="820"/>
                      <a:pt x="410" y="820"/>
                    </a:cubicBezTo>
                    <a:lnTo>
                      <a:pt x="1230" y="820"/>
                    </a:lnTo>
                    <a:cubicBezTo>
                      <a:pt x="1482" y="820"/>
                      <a:pt x="1639" y="631"/>
                      <a:pt x="1639" y="442"/>
                    </a:cubicBezTo>
                    <a:cubicBezTo>
                      <a:pt x="1639" y="190"/>
                      <a:pt x="1419" y="1"/>
                      <a:pt x="1230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2" name="Google Shape;4905;p133">
                <a:extLst>
                  <a:ext uri="{FF2B5EF4-FFF2-40B4-BE49-F238E27FC236}">
                    <a16:creationId xmlns:a16="http://schemas.microsoft.com/office/drawing/2014/main" id="{6EA5C72E-1438-48F2-8961-9B67B40DDC59}"/>
                  </a:ext>
                </a:extLst>
              </p:cNvPr>
              <p:cNvSpPr/>
              <p:nvPr/>
            </p:nvSpPr>
            <p:spPr>
              <a:xfrm>
                <a:off x="-61313925" y="2877575"/>
                <a:ext cx="40975" cy="22075"/>
              </a:xfrm>
              <a:custGeom>
                <a:avLst/>
                <a:gdLst/>
                <a:ahLst/>
                <a:cxnLst/>
                <a:rect l="l" t="t" r="r" b="b"/>
                <a:pathLst>
                  <a:path w="1639" h="883" extrusionOk="0">
                    <a:moveTo>
                      <a:pt x="410" y="0"/>
                    </a:moveTo>
                    <a:cubicBezTo>
                      <a:pt x="158" y="0"/>
                      <a:pt x="1" y="221"/>
                      <a:pt x="1" y="441"/>
                    </a:cubicBezTo>
                    <a:cubicBezTo>
                      <a:pt x="1" y="693"/>
                      <a:pt x="158" y="883"/>
                      <a:pt x="410" y="883"/>
                    </a:cubicBezTo>
                    <a:lnTo>
                      <a:pt x="1230" y="883"/>
                    </a:lnTo>
                    <a:cubicBezTo>
                      <a:pt x="1482" y="883"/>
                      <a:pt x="1639" y="693"/>
                      <a:pt x="1639" y="441"/>
                    </a:cubicBezTo>
                    <a:cubicBezTo>
                      <a:pt x="1639" y="221"/>
                      <a:pt x="1419" y="0"/>
                      <a:pt x="123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3" name="Google Shape;386;p81">
              <a:extLst>
                <a:ext uri="{FF2B5EF4-FFF2-40B4-BE49-F238E27FC236}">
                  <a16:creationId xmlns:a16="http://schemas.microsoft.com/office/drawing/2014/main" id="{2F81D296-7ADA-4675-89C8-56759D41DEC2}"/>
                </a:ext>
              </a:extLst>
            </p:cNvPr>
            <p:cNvSpPr txBox="1">
              <a:spLocks/>
            </p:cNvSpPr>
            <p:nvPr/>
          </p:nvSpPr>
          <p:spPr>
            <a:xfrm>
              <a:off x="5848333" y="3321118"/>
              <a:ext cx="2791384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1pPr>
              <a:lvl2pPr marR="0" lvl="1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2pPr>
              <a:lvl3pPr marR="0" lvl="2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3pPr>
              <a:lvl4pPr marR="0" lvl="3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4pPr>
              <a:lvl5pPr marR="0" lvl="4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5pPr>
              <a:lvl6pPr marR="0" lvl="5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6pPr>
              <a:lvl7pPr marR="0" lvl="6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7pPr>
              <a:lvl8pPr marR="0" lvl="7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8pPr>
              <a:lvl9pPr marR="0" lvl="8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9pPr>
            </a:lstStyle>
            <a:p>
              <a:pPr algn="l"/>
              <a:r>
                <a:rPr lang="en-US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rPr>
                <a:t>Declining credit card debt may point to increasing financial awareness in the general public</a:t>
              </a:r>
              <a:endParaRPr lang="en-US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22" name="Google Shape;341;p77">
            <a:extLst>
              <a:ext uri="{FF2B5EF4-FFF2-40B4-BE49-F238E27FC236}">
                <a16:creationId xmlns:a16="http://schemas.microsoft.com/office/drawing/2014/main" id="{A4E8F203-4BFF-41D7-B627-13C5C88720A7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CF3D919-A217-4AD5-9C5D-38C7FE28166C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1827301-3461-4869-A10D-801FA8E79396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" name="Graphic 3" descr="Video camera with solid fill">
              <a:extLst>
                <a:ext uri="{FF2B5EF4-FFF2-40B4-BE49-F238E27FC236}">
                  <a16:creationId xmlns:a16="http://schemas.microsoft.com/office/drawing/2014/main" id="{B766267E-1E92-4C97-844A-6776CEB85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5E565C-AE6A-4C1C-AC26-4BDC010800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918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7" name="Google Shape;397;p82"/>
          <p:cNvSpPr/>
          <p:nvPr/>
        </p:nvSpPr>
        <p:spPr>
          <a:xfrm>
            <a:off x="0" y="152400"/>
            <a:ext cx="8062686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5400" indent="0">
              <a:buClr>
                <a:srgbClr val="FFFFFF"/>
              </a:buClr>
              <a:buSzPts val="3200"/>
              <a:buFont typeface="Arial"/>
              <a:buNone/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ersonal loans mainly used to manage existing deb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EA3B4A-597C-44E7-9573-509820CAEFE0}"/>
              </a:ext>
            </a:extLst>
          </p:cNvPr>
          <p:cNvSpPr txBox="1"/>
          <p:nvPr/>
        </p:nvSpPr>
        <p:spPr>
          <a:xfrm>
            <a:off x="174171" y="4779281"/>
            <a:ext cx="4847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Lendingtree (</a:t>
            </a:r>
            <a:r>
              <a:rPr lang="en-US" sz="800" u="sng">
                <a:solidFill>
                  <a:schemeClr val="hlin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7"/>
              </a:rPr>
              <a:t>https://www.lendingtree.com/personal/personal-loans-statistics/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 </a:t>
            </a:r>
          </a:p>
          <a:p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te: Limited to borrowers with credit scores above 640 seeking a 36-month loan.</a:t>
            </a:r>
            <a:endParaRPr lang="en-US" sz="9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B889DE-8A99-4781-9916-B34A6F431D6D}"/>
              </a:ext>
            </a:extLst>
          </p:cNvPr>
          <p:cNvCxnSpPr/>
          <p:nvPr/>
        </p:nvCxnSpPr>
        <p:spPr>
          <a:xfrm>
            <a:off x="4572000" y="1320805"/>
            <a:ext cx="0" cy="3204481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602" name="Picture 2">
            <a:extLst>
              <a:ext uri="{FF2B5EF4-FFF2-40B4-BE49-F238E27FC236}">
                <a16:creationId xmlns:a16="http://schemas.microsoft.com/office/drawing/2014/main" id="{875F6721-41BB-4862-AF23-35BB804DCC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3" b="17038"/>
          <a:stretch/>
        </p:blipFill>
        <p:spPr bwMode="auto">
          <a:xfrm>
            <a:off x="268311" y="1796873"/>
            <a:ext cx="4020004" cy="251167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Google Shape;386;p81">
            <a:extLst>
              <a:ext uri="{FF2B5EF4-FFF2-40B4-BE49-F238E27FC236}">
                <a16:creationId xmlns:a16="http://schemas.microsoft.com/office/drawing/2014/main" id="{7E440789-2C87-43DC-9E8D-31222097E21B}"/>
              </a:ext>
            </a:extLst>
          </p:cNvPr>
          <p:cNvSpPr txBox="1">
            <a:spLocks/>
          </p:cNvSpPr>
          <p:nvPr/>
        </p:nvSpPr>
        <p:spPr>
          <a:xfrm>
            <a:off x="268311" y="1341659"/>
            <a:ext cx="4767485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 b="1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Reasons for personal loan inquiries April 2021</a:t>
            </a:r>
            <a:endParaRPr lang="en-US" b="1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7480B6A-4A8B-48F2-A59F-381609149DF1}"/>
              </a:ext>
            </a:extLst>
          </p:cNvPr>
          <p:cNvGrpSpPr/>
          <p:nvPr/>
        </p:nvGrpSpPr>
        <p:grpSpPr>
          <a:xfrm>
            <a:off x="4966550" y="2112507"/>
            <a:ext cx="3673167" cy="1880407"/>
            <a:chOff x="4966550" y="2112507"/>
            <a:chExt cx="3673167" cy="1880407"/>
          </a:xfrm>
        </p:grpSpPr>
        <p:sp>
          <p:nvSpPr>
            <p:cNvPr id="16" name="Google Shape;386;p81">
              <a:extLst>
                <a:ext uri="{FF2B5EF4-FFF2-40B4-BE49-F238E27FC236}">
                  <a16:creationId xmlns:a16="http://schemas.microsoft.com/office/drawing/2014/main" id="{58D845AB-C12A-4B7B-8838-106BCA0F381A}"/>
                </a:ext>
              </a:extLst>
            </p:cNvPr>
            <p:cNvSpPr txBox="1">
              <a:spLocks/>
            </p:cNvSpPr>
            <p:nvPr/>
          </p:nvSpPr>
          <p:spPr>
            <a:xfrm>
              <a:off x="5848333" y="2112507"/>
              <a:ext cx="2791384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1pPr>
              <a:lvl2pPr marR="0" lvl="1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2pPr>
              <a:lvl3pPr marR="0" lvl="2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3pPr>
              <a:lvl4pPr marR="0" lvl="3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4pPr>
              <a:lvl5pPr marR="0" lvl="4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5pPr>
              <a:lvl6pPr marR="0" lvl="5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6pPr>
              <a:lvl7pPr marR="0" lvl="6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7pPr>
              <a:lvl8pPr marR="0" lvl="7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8pPr>
              <a:lvl9pPr marR="0" lvl="8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9pPr>
            </a:lstStyle>
            <a:p>
              <a:pPr algn="l"/>
              <a:r>
                <a:rPr lang="en-US" dirty="0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rPr>
                <a:t>Almost half of recent personal loan enquiries are aimed to deal with existing debt</a:t>
              </a:r>
            </a:p>
          </p:txBody>
        </p:sp>
        <p:sp>
          <p:nvSpPr>
            <p:cNvPr id="17" name="Google Shape;8959;p142">
              <a:extLst>
                <a:ext uri="{FF2B5EF4-FFF2-40B4-BE49-F238E27FC236}">
                  <a16:creationId xmlns:a16="http://schemas.microsoft.com/office/drawing/2014/main" id="{6D5C9FBC-2BAF-4687-9B35-964ADFB20BF9}"/>
                </a:ext>
              </a:extLst>
            </p:cNvPr>
            <p:cNvSpPr/>
            <p:nvPr/>
          </p:nvSpPr>
          <p:spPr>
            <a:xfrm>
              <a:off x="4966550" y="2160163"/>
              <a:ext cx="598098" cy="551018"/>
            </a:xfrm>
            <a:custGeom>
              <a:avLst/>
              <a:gdLst/>
              <a:ahLst/>
              <a:cxnLst/>
              <a:rect l="l" t="t" r="r" b="b"/>
              <a:pathLst>
                <a:path w="12005" h="11060" extrusionOk="0">
                  <a:moveTo>
                    <a:pt x="2049" y="2049"/>
                  </a:moveTo>
                  <a:cubicBezTo>
                    <a:pt x="2238" y="2049"/>
                    <a:pt x="2395" y="2206"/>
                    <a:pt x="2395" y="2395"/>
                  </a:cubicBezTo>
                  <a:cubicBezTo>
                    <a:pt x="2395" y="2584"/>
                    <a:pt x="2238" y="2742"/>
                    <a:pt x="2049" y="2742"/>
                  </a:cubicBezTo>
                  <a:cubicBezTo>
                    <a:pt x="1860" y="2742"/>
                    <a:pt x="1702" y="2584"/>
                    <a:pt x="1702" y="2395"/>
                  </a:cubicBezTo>
                  <a:cubicBezTo>
                    <a:pt x="1734" y="2206"/>
                    <a:pt x="1860" y="2049"/>
                    <a:pt x="2049" y="2049"/>
                  </a:cubicBezTo>
                  <a:close/>
                  <a:moveTo>
                    <a:pt x="9736" y="2049"/>
                  </a:moveTo>
                  <a:cubicBezTo>
                    <a:pt x="9925" y="2049"/>
                    <a:pt x="10082" y="2206"/>
                    <a:pt x="10082" y="2395"/>
                  </a:cubicBezTo>
                  <a:cubicBezTo>
                    <a:pt x="10082" y="2584"/>
                    <a:pt x="9925" y="2742"/>
                    <a:pt x="9736" y="2742"/>
                  </a:cubicBezTo>
                  <a:cubicBezTo>
                    <a:pt x="9515" y="2742"/>
                    <a:pt x="9358" y="2584"/>
                    <a:pt x="9358" y="2395"/>
                  </a:cubicBezTo>
                  <a:cubicBezTo>
                    <a:pt x="9358" y="2206"/>
                    <a:pt x="9515" y="2049"/>
                    <a:pt x="9736" y="2049"/>
                  </a:cubicBezTo>
                  <a:close/>
                  <a:moveTo>
                    <a:pt x="2049" y="3719"/>
                  </a:moveTo>
                  <a:lnTo>
                    <a:pt x="3151" y="5514"/>
                  </a:lnTo>
                  <a:lnTo>
                    <a:pt x="946" y="5514"/>
                  </a:lnTo>
                  <a:lnTo>
                    <a:pt x="2049" y="3719"/>
                  </a:lnTo>
                  <a:close/>
                  <a:moveTo>
                    <a:pt x="9736" y="3719"/>
                  </a:moveTo>
                  <a:lnTo>
                    <a:pt x="10838" y="5514"/>
                  </a:lnTo>
                  <a:lnTo>
                    <a:pt x="8633" y="5514"/>
                  </a:lnTo>
                  <a:lnTo>
                    <a:pt x="9736" y="3719"/>
                  </a:lnTo>
                  <a:close/>
                  <a:moveTo>
                    <a:pt x="3435" y="6207"/>
                  </a:moveTo>
                  <a:cubicBezTo>
                    <a:pt x="3466" y="6964"/>
                    <a:pt x="2836" y="7594"/>
                    <a:pt x="2049" y="7594"/>
                  </a:cubicBezTo>
                  <a:cubicBezTo>
                    <a:pt x="1292" y="7594"/>
                    <a:pt x="662" y="6964"/>
                    <a:pt x="662" y="6207"/>
                  </a:cubicBezTo>
                  <a:close/>
                  <a:moveTo>
                    <a:pt x="11090" y="6207"/>
                  </a:moveTo>
                  <a:cubicBezTo>
                    <a:pt x="11090" y="6964"/>
                    <a:pt x="10460" y="7594"/>
                    <a:pt x="9736" y="7594"/>
                  </a:cubicBezTo>
                  <a:cubicBezTo>
                    <a:pt x="8980" y="7594"/>
                    <a:pt x="8350" y="6964"/>
                    <a:pt x="8350" y="6207"/>
                  </a:cubicBezTo>
                  <a:close/>
                  <a:moveTo>
                    <a:pt x="5892" y="663"/>
                  </a:moveTo>
                  <a:cubicBezTo>
                    <a:pt x="6113" y="663"/>
                    <a:pt x="6270" y="820"/>
                    <a:pt x="6270" y="1009"/>
                  </a:cubicBezTo>
                  <a:lnTo>
                    <a:pt x="6270" y="8980"/>
                  </a:lnTo>
                  <a:lnTo>
                    <a:pt x="5546" y="8980"/>
                  </a:lnTo>
                  <a:lnTo>
                    <a:pt x="5546" y="1009"/>
                  </a:lnTo>
                  <a:cubicBezTo>
                    <a:pt x="5546" y="820"/>
                    <a:pt x="5703" y="663"/>
                    <a:pt x="5892" y="663"/>
                  </a:cubicBezTo>
                  <a:close/>
                  <a:moveTo>
                    <a:pt x="8003" y="9673"/>
                  </a:moveTo>
                  <a:cubicBezTo>
                    <a:pt x="8192" y="9673"/>
                    <a:pt x="8350" y="9830"/>
                    <a:pt x="8350" y="10020"/>
                  </a:cubicBezTo>
                  <a:lnTo>
                    <a:pt x="8350" y="10398"/>
                  </a:lnTo>
                  <a:lnTo>
                    <a:pt x="3466" y="10398"/>
                  </a:lnTo>
                  <a:lnTo>
                    <a:pt x="3466" y="10020"/>
                  </a:lnTo>
                  <a:cubicBezTo>
                    <a:pt x="3466" y="9830"/>
                    <a:pt x="3624" y="9673"/>
                    <a:pt x="3813" y="9673"/>
                  </a:cubicBezTo>
                  <a:close/>
                  <a:moveTo>
                    <a:pt x="5955" y="1"/>
                  </a:moveTo>
                  <a:cubicBezTo>
                    <a:pt x="5357" y="1"/>
                    <a:pt x="4916" y="474"/>
                    <a:pt x="4916" y="1009"/>
                  </a:cubicBezTo>
                  <a:lnTo>
                    <a:pt x="4916" y="1167"/>
                  </a:lnTo>
                  <a:cubicBezTo>
                    <a:pt x="3970" y="1671"/>
                    <a:pt x="3655" y="1891"/>
                    <a:pt x="3057" y="1954"/>
                  </a:cubicBezTo>
                  <a:cubicBezTo>
                    <a:pt x="2899" y="1608"/>
                    <a:pt x="2553" y="1324"/>
                    <a:pt x="2112" y="1324"/>
                  </a:cubicBezTo>
                  <a:cubicBezTo>
                    <a:pt x="1734" y="1324"/>
                    <a:pt x="1387" y="1576"/>
                    <a:pt x="1166" y="1923"/>
                  </a:cubicBezTo>
                  <a:cubicBezTo>
                    <a:pt x="946" y="1891"/>
                    <a:pt x="694" y="1797"/>
                    <a:pt x="505" y="1734"/>
                  </a:cubicBezTo>
                  <a:cubicBezTo>
                    <a:pt x="454" y="1708"/>
                    <a:pt x="404" y="1697"/>
                    <a:pt x="355" y="1697"/>
                  </a:cubicBezTo>
                  <a:cubicBezTo>
                    <a:pt x="224" y="1697"/>
                    <a:pt x="110" y="1784"/>
                    <a:pt x="64" y="1923"/>
                  </a:cubicBezTo>
                  <a:cubicBezTo>
                    <a:pt x="1" y="2112"/>
                    <a:pt x="64" y="2301"/>
                    <a:pt x="284" y="2364"/>
                  </a:cubicBezTo>
                  <a:cubicBezTo>
                    <a:pt x="536" y="2458"/>
                    <a:pt x="820" y="2553"/>
                    <a:pt x="1135" y="2616"/>
                  </a:cubicBezTo>
                  <a:cubicBezTo>
                    <a:pt x="1229" y="2899"/>
                    <a:pt x="1387" y="3151"/>
                    <a:pt x="1607" y="3277"/>
                  </a:cubicBezTo>
                  <a:lnTo>
                    <a:pt x="127" y="5703"/>
                  </a:lnTo>
                  <a:cubicBezTo>
                    <a:pt x="64" y="5735"/>
                    <a:pt x="64" y="5829"/>
                    <a:pt x="64" y="5892"/>
                  </a:cubicBezTo>
                  <a:lnTo>
                    <a:pt x="64" y="6239"/>
                  </a:lnTo>
                  <a:cubicBezTo>
                    <a:pt x="64" y="7405"/>
                    <a:pt x="1009" y="8350"/>
                    <a:pt x="2175" y="8350"/>
                  </a:cubicBezTo>
                  <a:cubicBezTo>
                    <a:pt x="3309" y="8350"/>
                    <a:pt x="4254" y="7405"/>
                    <a:pt x="4254" y="6239"/>
                  </a:cubicBezTo>
                  <a:lnTo>
                    <a:pt x="4254" y="5892"/>
                  </a:lnTo>
                  <a:cubicBezTo>
                    <a:pt x="4254" y="5829"/>
                    <a:pt x="4254" y="5766"/>
                    <a:pt x="4222" y="5703"/>
                  </a:cubicBezTo>
                  <a:lnTo>
                    <a:pt x="2710" y="3277"/>
                  </a:lnTo>
                  <a:cubicBezTo>
                    <a:pt x="2962" y="3183"/>
                    <a:pt x="3120" y="2931"/>
                    <a:pt x="3183" y="2647"/>
                  </a:cubicBezTo>
                  <a:cubicBezTo>
                    <a:pt x="3844" y="2553"/>
                    <a:pt x="4222" y="2332"/>
                    <a:pt x="4947" y="1954"/>
                  </a:cubicBezTo>
                  <a:lnTo>
                    <a:pt x="4947" y="8980"/>
                  </a:lnTo>
                  <a:lnTo>
                    <a:pt x="3939" y="8980"/>
                  </a:lnTo>
                  <a:cubicBezTo>
                    <a:pt x="3340" y="8980"/>
                    <a:pt x="2899" y="9421"/>
                    <a:pt x="2899" y="9988"/>
                  </a:cubicBezTo>
                  <a:lnTo>
                    <a:pt x="2899" y="10713"/>
                  </a:lnTo>
                  <a:cubicBezTo>
                    <a:pt x="2899" y="10902"/>
                    <a:pt x="3057" y="11059"/>
                    <a:pt x="3246" y="11059"/>
                  </a:cubicBezTo>
                  <a:lnTo>
                    <a:pt x="8822" y="11059"/>
                  </a:lnTo>
                  <a:cubicBezTo>
                    <a:pt x="9011" y="11059"/>
                    <a:pt x="9169" y="10902"/>
                    <a:pt x="9169" y="10713"/>
                  </a:cubicBezTo>
                  <a:lnTo>
                    <a:pt x="9169" y="9988"/>
                  </a:lnTo>
                  <a:cubicBezTo>
                    <a:pt x="9169" y="9389"/>
                    <a:pt x="8696" y="8980"/>
                    <a:pt x="8129" y="8980"/>
                  </a:cubicBezTo>
                  <a:lnTo>
                    <a:pt x="7089" y="8980"/>
                  </a:lnTo>
                  <a:lnTo>
                    <a:pt x="7089" y="1954"/>
                  </a:lnTo>
                  <a:cubicBezTo>
                    <a:pt x="7814" y="2332"/>
                    <a:pt x="8224" y="2553"/>
                    <a:pt x="8885" y="2647"/>
                  </a:cubicBezTo>
                  <a:cubicBezTo>
                    <a:pt x="8980" y="2931"/>
                    <a:pt x="9137" y="3120"/>
                    <a:pt x="9358" y="3277"/>
                  </a:cubicBezTo>
                  <a:lnTo>
                    <a:pt x="7877" y="5703"/>
                  </a:lnTo>
                  <a:cubicBezTo>
                    <a:pt x="7814" y="5735"/>
                    <a:pt x="7814" y="5829"/>
                    <a:pt x="7814" y="5892"/>
                  </a:cubicBezTo>
                  <a:lnTo>
                    <a:pt x="7814" y="6239"/>
                  </a:lnTo>
                  <a:cubicBezTo>
                    <a:pt x="7814" y="7405"/>
                    <a:pt x="8759" y="8350"/>
                    <a:pt x="9925" y="8350"/>
                  </a:cubicBezTo>
                  <a:cubicBezTo>
                    <a:pt x="11059" y="8350"/>
                    <a:pt x="12004" y="7405"/>
                    <a:pt x="12004" y="6239"/>
                  </a:cubicBezTo>
                  <a:lnTo>
                    <a:pt x="12004" y="5892"/>
                  </a:lnTo>
                  <a:cubicBezTo>
                    <a:pt x="12004" y="5829"/>
                    <a:pt x="12004" y="5766"/>
                    <a:pt x="11973" y="5703"/>
                  </a:cubicBezTo>
                  <a:lnTo>
                    <a:pt x="10460" y="3277"/>
                  </a:lnTo>
                  <a:cubicBezTo>
                    <a:pt x="10523" y="3151"/>
                    <a:pt x="10681" y="2899"/>
                    <a:pt x="10744" y="2616"/>
                  </a:cubicBezTo>
                  <a:cubicBezTo>
                    <a:pt x="11027" y="2553"/>
                    <a:pt x="11343" y="2458"/>
                    <a:pt x="11626" y="2364"/>
                  </a:cubicBezTo>
                  <a:cubicBezTo>
                    <a:pt x="11815" y="2269"/>
                    <a:pt x="11878" y="2080"/>
                    <a:pt x="11815" y="1923"/>
                  </a:cubicBezTo>
                  <a:cubicBezTo>
                    <a:pt x="11746" y="1784"/>
                    <a:pt x="11626" y="1697"/>
                    <a:pt x="11505" y="1697"/>
                  </a:cubicBezTo>
                  <a:cubicBezTo>
                    <a:pt x="11461" y="1697"/>
                    <a:pt x="11416" y="1708"/>
                    <a:pt x="11374" y="1734"/>
                  </a:cubicBezTo>
                  <a:cubicBezTo>
                    <a:pt x="11122" y="1797"/>
                    <a:pt x="10933" y="1891"/>
                    <a:pt x="10712" y="1923"/>
                  </a:cubicBezTo>
                  <a:cubicBezTo>
                    <a:pt x="10555" y="1576"/>
                    <a:pt x="10208" y="1324"/>
                    <a:pt x="9767" y="1324"/>
                  </a:cubicBezTo>
                  <a:cubicBezTo>
                    <a:pt x="9326" y="1324"/>
                    <a:pt x="8980" y="1576"/>
                    <a:pt x="8822" y="1954"/>
                  </a:cubicBezTo>
                  <a:cubicBezTo>
                    <a:pt x="8224" y="1828"/>
                    <a:pt x="7908" y="1639"/>
                    <a:pt x="6963" y="1167"/>
                  </a:cubicBezTo>
                  <a:lnTo>
                    <a:pt x="6963" y="1009"/>
                  </a:lnTo>
                  <a:cubicBezTo>
                    <a:pt x="6963" y="411"/>
                    <a:pt x="6491" y="1"/>
                    <a:pt x="595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Google Shape;386;p81">
              <a:extLst>
                <a:ext uri="{FF2B5EF4-FFF2-40B4-BE49-F238E27FC236}">
                  <a16:creationId xmlns:a16="http://schemas.microsoft.com/office/drawing/2014/main" id="{315E829D-150F-492A-97E8-CE57296B64C6}"/>
                </a:ext>
              </a:extLst>
            </p:cNvPr>
            <p:cNvSpPr txBox="1">
              <a:spLocks/>
            </p:cNvSpPr>
            <p:nvPr/>
          </p:nvSpPr>
          <p:spPr>
            <a:xfrm>
              <a:off x="5848333" y="3346583"/>
              <a:ext cx="2791384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1pPr>
              <a:lvl2pPr marR="0" lvl="1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2pPr>
              <a:lvl3pPr marR="0" lvl="2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3pPr>
              <a:lvl4pPr marR="0" lvl="3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4pPr>
              <a:lvl5pPr marR="0" lvl="4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5pPr>
              <a:lvl6pPr marR="0" lvl="5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6pPr>
              <a:lvl7pPr marR="0" lvl="6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7pPr>
              <a:lvl8pPr marR="0" lvl="7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8pPr>
              <a:lvl9pPr marR="0" lvl="8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9pPr>
            </a:lstStyle>
            <a:p>
              <a:pPr algn="l"/>
              <a:r>
                <a:rPr lang="en-US" dirty="0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rPr>
                <a:t>Green loans still only a small portion, but this is likely to change throughout the decade</a:t>
              </a:r>
            </a:p>
          </p:txBody>
        </p:sp>
        <p:sp>
          <p:nvSpPr>
            <p:cNvPr id="25" name="Google Shape;7526;p139">
              <a:extLst>
                <a:ext uri="{FF2B5EF4-FFF2-40B4-BE49-F238E27FC236}">
                  <a16:creationId xmlns:a16="http://schemas.microsoft.com/office/drawing/2014/main" id="{9DB1CBC0-3E7C-4CDD-ACCD-5240F670ED68}"/>
                </a:ext>
              </a:extLst>
            </p:cNvPr>
            <p:cNvSpPr/>
            <p:nvPr/>
          </p:nvSpPr>
          <p:spPr>
            <a:xfrm>
              <a:off x="4966550" y="3369147"/>
              <a:ext cx="598097" cy="601203"/>
            </a:xfrm>
            <a:custGeom>
              <a:avLst/>
              <a:gdLst/>
              <a:ahLst/>
              <a:cxnLst/>
              <a:rect l="l" t="t" r="r" b="b"/>
              <a:pathLst>
                <a:path w="12131" h="12194" extrusionOk="0">
                  <a:moveTo>
                    <a:pt x="4632" y="725"/>
                  </a:moveTo>
                  <a:cubicBezTo>
                    <a:pt x="5609" y="725"/>
                    <a:pt x="6396" y="1513"/>
                    <a:pt x="6396" y="2490"/>
                  </a:cubicBezTo>
                  <a:cubicBezTo>
                    <a:pt x="6365" y="2679"/>
                    <a:pt x="6522" y="2836"/>
                    <a:pt x="6680" y="2899"/>
                  </a:cubicBezTo>
                  <a:cubicBezTo>
                    <a:pt x="7341" y="2994"/>
                    <a:pt x="7814" y="3592"/>
                    <a:pt x="7814" y="4317"/>
                  </a:cubicBezTo>
                  <a:cubicBezTo>
                    <a:pt x="7814" y="4695"/>
                    <a:pt x="7656" y="5042"/>
                    <a:pt x="7404" y="5325"/>
                  </a:cubicBezTo>
                  <a:cubicBezTo>
                    <a:pt x="7184" y="5483"/>
                    <a:pt x="7278" y="5798"/>
                    <a:pt x="7530" y="5924"/>
                  </a:cubicBezTo>
                  <a:cubicBezTo>
                    <a:pt x="8129" y="6207"/>
                    <a:pt x="8539" y="6869"/>
                    <a:pt x="8539" y="7530"/>
                  </a:cubicBezTo>
                  <a:cubicBezTo>
                    <a:pt x="8539" y="8507"/>
                    <a:pt x="7751" y="9295"/>
                    <a:pt x="6774" y="9295"/>
                  </a:cubicBezTo>
                  <a:lnTo>
                    <a:pt x="4979" y="9295"/>
                  </a:lnTo>
                  <a:lnTo>
                    <a:pt x="4979" y="6932"/>
                  </a:lnTo>
                  <a:lnTo>
                    <a:pt x="6333" y="5609"/>
                  </a:lnTo>
                  <a:cubicBezTo>
                    <a:pt x="6491" y="5451"/>
                    <a:pt x="6491" y="5231"/>
                    <a:pt x="6333" y="5073"/>
                  </a:cubicBezTo>
                  <a:cubicBezTo>
                    <a:pt x="6254" y="4994"/>
                    <a:pt x="6168" y="4955"/>
                    <a:pt x="6081" y="4955"/>
                  </a:cubicBezTo>
                  <a:cubicBezTo>
                    <a:pt x="5995" y="4955"/>
                    <a:pt x="5908" y="4994"/>
                    <a:pt x="5829" y="5073"/>
                  </a:cubicBezTo>
                  <a:lnTo>
                    <a:pt x="4979" y="5924"/>
                  </a:lnTo>
                  <a:lnTo>
                    <a:pt x="4979" y="2490"/>
                  </a:lnTo>
                  <a:cubicBezTo>
                    <a:pt x="4979" y="2301"/>
                    <a:pt x="4821" y="2143"/>
                    <a:pt x="4632" y="2143"/>
                  </a:cubicBezTo>
                  <a:cubicBezTo>
                    <a:pt x="4443" y="2143"/>
                    <a:pt x="4285" y="2301"/>
                    <a:pt x="4285" y="2490"/>
                  </a:cubicBezTo>
                  <a:lnTo>
                    <a:pt x="4285" y="4506"/>
                  </a:lnTo>
                  <a:lnTo>
                    <a:pt x="3466" y="3655"/>
                  </a:lnTo>
                  <a:cubicBezTo>
                    <a:pt x="3388" y="3577"/>
                    <a:pt x="3293" y="3537"/>
                    <a:pt x="3198" y="3537"/>
                  </a:cubicBezTo>
                  <a:cubicBezTo>
                    <a:pt x="3104" y="3537"/>
                    <a:pt x="3009" y="3577"/>
                    <a:pt x="2931" y="3655"/>
                  </a:cubicBezTo>
                  <a:cubicBezTo>
                    <a:pt x="2773" y="3844"/>
                    <a:pt x="2773" y="4033"/>
                    <a:pt x="2931" y="4191"/>
                  </a:cubicBezTo>
                  <a:lnTo>
                    <a:pt x="4285" y="5514"/>
                  </a:lnTo>
                  <a:lnTo>
                    <a:pt x="4285" y="7373"/>
                  </a:lnTo>
                  <a:lnTo>
                    <a:pt x="3466" y="6554"/>
                  </a:lnTo>
                  <a:cubicBezTo>
                    <a:pt x="3388" y="6475"/>
                    <a:pt x="3293" y="6436"/>
                    <a:pt x="3198" y="6436"/>
                  </a:cubicBezTo>
                  <a:cubicBezTo>
                    <a:pt x="3104" y="6436"/>
                    <a:pt x="3009" y="6475"/>
                    <a:pt x="2931" y="6554"/>
                  </a:cubicBezTo>
                  <a:cubicBezTo>
                    <a:pt x="2773" y="6711"/>
                    <a:pt x="2773" y="6900"/>
                    <a:pt x="2931" y="7058"/>
                  </a:cubicBezTo>
                  <a:lnTo>
                    <a:pt x="4285" y="8413"/>
                  </a:lnTo>
                  <a:lnTo>
                    <a:pt x="4285" y="9295"/>
                  </a:lnTo>
                  <a:lnTo>
                    <a:pt x="2521" y="9295"/>
                  </a:lnTo>
                  <a:cubicBezTo>
                    <a:pt x="1513" y="9295"/>
                    <a:pt x="694" y="8507"/>
                    <a:pt x="694" y="7530"/>
                  </a:cubicBezTo>
                  <a:cubicBezTo>
                    <a:pt x="694" y="6837"/>
                    <a:pt x="1103" y="6207"/>
                    <a:pt x="1734" y="5924"/>
                  </a:cubicBezTo>
                  <a:cubicBezTo>
                    <a:pt x="1954" y="5798"/>
                    <a:pt x="1986" y="5514"/>
                    <a:pt x="1828" y="5325"/>
                  </a:cubicBezTo>
                  <a:cubicBezTo>
                    <a:pt x="1576" y="5042"/>
                    <a:pt x="1418" y="4695"/>
                    <a:pt x="1418" y="4317"/>
                  </a:cubicBezTo>
                  <a:cubicBezTo>
                    <a:pt x="1418" y="3624"/>
                    <a:pt x="1891" y="3057"/>
                    <a:pt x="2584" y="2899"/>
                  </a:cubicBezTo>
                  <a:cubicBezTo>
                    <a:pt x="2742" y="2836"/>
                    <a:pt x="2899" y="2679"/>
                    <a:pt x="2868" y="2490"/>
                  </a:cubicBezTo>
                  <a:cubicBezTo>
                    <a:pt x="2868" y="1513"/>
                    <a:pt x="3655" y="725"/>
                    <a:pt x="4632" y="725"/>
                  </a:cubicBezTo>
                  <a:close/>
                  <a:moveTo>
                    <a:pt x="7467" y="725"/>
                  </a:moveTo>
                  <a:cubicBezTo>
                    <a:pt x="8444" y="725"/>
                    <a:pt x="9295" y="1513"/>
                    <a:pt x="9232" y="2584"/>
                  </a:cubicBezTo>
                  <a:cubicBezTo>
                    <a:pt x="9232" y="2742"/>
                    <a:pt x="9358" y="2899"/>
                    <a:pt x="9515" y="2931"/>
                  </a:cubicBezTo>
                  <a:cubicBezTo>
                    <a:pt x="10177" y="3057"/>
                    <a:pt x="10712" y="3624"/>
                    <a:pt x="10712" y="4348"/>
                  </a:cubicBezTo>
                  <a:cubicBezTo>
                    <a:pt x="10712" y="4726"/>
                    <a:pt x="10555" y="5105"/>
                    <a:pt x="10271" y="5357"/>
                  </a:cubicBezTo>
                  <a:cubicBezTo>
                    <a:pt x="10082" y="5514"/>
                    <a:pt x="10145" y="5829"/>
                    <a:pt x="10397" y="5955"/>
                  </a:cubicBezTo>
                  <a:cubicBezTo>
                    <a:pt x="11027" y="6239"/>
                    <a:pt x="11406" y="6900"/>
                    <a:pt x="11406" y="7562"/>
                  </a:cubicBezTo>
                  <a:cubicBezTo>
                    <a:pt x="11406" y="8570"/>
                    <a:pt x="10586" y="9358"/>
                    <a:pt x="9610" y="9358"/>
                  </a:cubicBezTo>
                  <a:lnTo>
                    <a:pt x="8507" y="9358"/>
                  </a:lnTo>
                  <a:cubicBezTo>
                    <a:pt x="8980" y="8885"/>
                    <a:pt x="9232" y="8224"/>
                    <a:pt x="9232" y="7562"/>
                  </a:cubicBezTo>
                  <a:cubicBezTo>
                    <a:pt x="9232" y="6743"/>
                    <a:pt x="8854" y="5987"/>
                    <a:pt x="8192" y="5514"/>
                  </a:cubicBezTo>
                  <a:cubicBezTo>
                    <a:pt x="8413" y="5168"/>
                    <a:pt x="8539" y="4789"/>
                    <a:pt x="8539" y="4348"/>
                  </a:cubicBezTo>
                  <a:cubicBezTo>
                    <a:pt x="8539" y="3435"/>
                    <a:pt x="7940" y="2616"/>
                    <a:pt x="7089" y="2332"/>
                  </a:cubicBezTo>
                  <a:cubicBezTo>
                    <a:pt x="7058" y="1828"/>
                    <a:pt x="6837" y="1387"/>
                    <a:pt x="6554" y="1009"/>
                  </a:cubicBezTo>
                  <a:cubicBezTo>
                    <a:pt x="6837" y="788"/>
                    <a:pt x="7152" y="725"/>
                    <a:pt x="7467" y="725"/>
                  </a:cubicBezTo>
                  <a:close/>
                  <a:moveTo>
                    <a:pt x="7121" y="10019"/>
                  </a:moveTo>
                  <a:lnTo>
                    <a:pt x="7121" y="11469"/>
                  </a:lnTo>
                  <a:lnTo>
                    <a:pt x="4979" y="11469"/>
                  </a:lnTo>
                  <a:lnTo>
                    <a:pt x="4979" y="10019"/>
                  </a:lnTo>
                  <a:close/>
                  <a:moveTo>
                    <a:pt x="4632" y="1"/>
                  </a:moveTo>
                  <a:cubicBezTo>
                    <a:pt x="3340" y="1"/>
                    <a:pt x="2269" y="1009"/>
                    <a:pt x="2175" y="2301"/>
                  </a:cubicBezTo>
                  <a:cubicBezTo>
                    <a:pt x="1292" y="2616"/>
                    <a:pt x="694" y="3403"/>
                    <a:pt x="694" y="4317"/>
                  </a:cubicBezTo>
                  <a:cubicBezTo>
                    <a:pt x="694" y="4726"/>
                    <a:pt x="820" y="5136"/>
                    <a:pt x="1072" y="5483"/>
                  </a:cubicBezTo>
                  <a:cubicBezTo>
                    <a:pt x="379" y="5955"/>
                    <a:pt x="1" y="6711"/>
                    <a:pt x="1" y="7530"/>
                  </a:cubicBezTo>
                  <a:cubicBezTo>
                    <a:pt x="1" y="8917"/>
                    <a:pt x="1135" y="10019"/>
                    <a:pt x="2521" y="10019"/>
                  </a:cubicBezTo>
                  <a:lnTo>
                    <a:pt x="4285" y="10019"/>
                  </a:lnTo>
                  <a:lnTo>
                    <a:pt x="4285" y="11469"/>
                  </a:lnTo>
                  <a:lnTo>
                    <a:pt x="2521" y="11469"/>
                  </a:lnTo>
                  <a:cubicBezTo>
                    <a:pt x="2332" y="11469"/>
                    <a:pt x="2175" y="11626"/>
                    <a:pt x="2175" y="11815"/>
                  </a:cubicBezTo>
                  <a:cubicBezTo>
                    <a:pt x="2175" y="12036"/>
                    <a:pt x="2332" y="12193"/>
                    <a:pt x="2521" y="12193"/>
                  </a:cubicBezTo>
                  <a:lnTo>
                    <a:pt x="9641" y="12193"/>
                  </a:lnTo>
                  <a:cubicBezTo>
                    <a:pt x="9830" y="12193"/>
                    <a:pt x="9988" y="12036"/>
                    <a:pt x="9988" y="11815"/>
                  </a:cubicBezTo>
                  <a:cubicBezTo>
                    <a:pt x="9988" y="11626"/>
                    <a:pt x="9830" y="11469"/>
                    <a:pt x="9641" y="11469"/>
                  </a:cubicBezTo>
                  <a:lnTo>
                    <a:pt x="7877" y="11469"/>
                  </a:lnTo>
                  <a:lnTo>
                    <a:pt x="7877" y="10019"/>
                  </a:lnTo>
                  <a:lnTo>
                    <a:pt x="9610" y="10019"/>
                  </a:lnTo>
                  <a:cubicBezTo>
                    <a:pt x="10964" y="10019"/>
                    <a:pt x="12130" y="8917"/>
                    <a:pt x="12130" y="7530"/>
                  </a:cubicBezTo>
                  <a:cubicBezTo>
                    <a:pt x="12130" y="6711"/>
                    <a:pt x="11721" y="5955"/>
                    <a:pt x="11059" y="5483"/>
                  </a:cubicBezTo>
                  <a:cubicBezTo>
                    <a:pt x="11280" y="5136"/>
                    <a:pt x="11406" y="4726"/>
                    <a:pt x="11406" y="4317"/>
                  </a:cubicBezTo>
                  <a:cubicBezTo>
                    <a:pt x="11406" y="3403"/>
                    <a:pt x="10838" y="2584"/>
                    <a:pt x="9956" y="2301"/>
                  </a:cubicBezTo>
                  <a:cubicBezTo>
                    <a:pt x="9830" y="1040"/>
                    <a:pt x="8791" y="1"/>
                    <a:pt x="7467" y="1"/>
                  </a:cubicBezTo>
                  <a:cubicBezTo>
                    <a:pt x="6963" y="1"/>
                    <a:pt x="6459" y="158"/>
                    <a:pt x="6050" y="442"/>
                  </a:cubicBezTo>
                  <a:cubicBezTo>
                    <a:pt x="5672" y="158"/>
                    <a:pt x="5168" y="1"/>
                    <a:pt x="463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3" name="Google Shape;341;p77">
            <a:extLst>
              <a:ext uri="{FF2B5EF4-FFF2-40B4-BE49-F238E27FC236}">
                <a16:creationId xmlns:a16="http://schemas.microsoft.com/office/drawing/2014/main" id="{EF3ED484-C33E-4F2D-A02A-C9E75D8E05D8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1CF4633-9D0C-4027-80DD-A0C493BCBD81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CBBC453-0F26-421E-AE60-A807EE7DEEBC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" name="Graphic 17" descr="Video camera with solid fill">
              <a:extLst>
                <a:ext uri="{FF2B5EF4-FFF2-40B4-BE49-F238E27FC236}">
                  <a16:creationId xmlns:a16="http://schemas.microsoft.com/office/drawing/2014/main" id="{C36F5DA3-B1BB-48F0-9126-23137976DF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738A78-AC27-4BD3-85EC-8F55BB97D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876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6" name="Google Shape;386;p81"/>
          <p:cNvSpPr txBox="1">
            <a:spLocks noGrp="1"/>
          </p:cNvSpPr>
          <p:nvPr>
            <p:ph type="ctrTitle"/>
          </p:nvPr>
        </p:nvSpPr>
        <p:spPr>
          <a:xfrm>
            <a:off x="2334252" y="1143647"/>
            <a:ext cx="4475496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ea typeface="Arial"/>
              </a:rPr>
              <a:t>US Banks’ Loan Loss Provision in last three quarters ($M)</a:t>
            </a:r>
          </a:p>
        </p:txBody>
      </p:sp>
      <p:sp>
        <p:nvSpPr>
          <p:cNvPr id="387" name="Google Shape;387;p81"/>
          <p:cNvSpPr/>
          <p:nvPr/>
        </p:nvSpPr>
        <p:spPr>
          <a:xfrm>
            <a:off x="-1" y="46549"/>
            <a:ext cx="6691088" cy="891465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5400" lvl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anks preparing for Covid-driven credit default wave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37212AF7-3162-47A7-965C-3A7D257C38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77" b="10264"/>
          <a:stretch/>
        </p:blipFill>
        <p:spPr bwMode="auto">
          <a:xfrm>
            <a:off x="2393464" y="1892777"/>
            <a:ext cx="4357073" cy="268647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7285A60-8892-4226-A4A4-4FCD68872E69}"/>
              </a:ext>
            </a:extLst>
          </p:cNvPr>
          <p:cNvSpPr txBox="1"/>
          <p:nvPr/>
        </p:nvSpPr>
        <p:spPr>
          <a:xfrm>
            <a:off x="174171" y="4837337"/>
            <a:ext cx="48477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Statista (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8"/>
              </a:rPr>
              <a:t>https://www.statista.com/chart/22266/bank-loan-loss-provisions/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pic>
        <p:nvPicPr>
          <p:cNvPr id="7" name="Google Shape;341;p77">
            <a:extLst>
              <a:ext uri="{FF2B5EF4-FFF2-40B4-BE49-F238E27FC236}">
                <a16:creationId xmlns:a16="http://schemas.microsoft.com/office/drawing/2014/main" id="{4FA91E21-D0C1-4DF3-89BE-7054A5639CC7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7D64B9C-8956-470F-BB59-6020C9272F11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CFE6C86-0E2B-4A58-9365-4D8840340592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Graphic 9" descr="Video camera with solid fill">
              <a:extLst>
                <a:ext uri="{FF2B5EF4-FFF2-40B4-BE49-F238E27FC236}">
                  <a16:creationId xmlns:a16="http://schemas.microsoft.com/office/drawing/2014/main" id="{8D03EA8F-9FDD-4457-B46A-6EF520BF6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6FBA803-D06F-4505-8A20-7FE7A29BCB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9301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427;p85">
            <a:extLst>
              <a:ext uri="{FF2B5EF4-FFF2-40B4-BE49-F238E27FC236}">
                <a16:creationId xmlns:a16="http://schemas.microsoft.com/office/drawing/2014/main" id="{E0B2A332-3D0D-4371-A245-088082DC52B3}"/>
              </a:ext>
            </a:extLst>
          </p:cNvPr>
          <p:cNvSpPr/>
          <p:nvPr/>
        </p:nvSpPr>
        <p:spPr>
          <a:xfrm>
            <a:off x="0" y="103599"/>
            <a:ext cx="5116286" cy="891465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versal </a:t>
            </a:r>
            <a:r>
              <a:rPr lang="hu-HU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us</a:t>
            </a: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should act risk averse in current market</a:t>
            </a:r>
          </a:p>
        </p:txBody>
      </p:sp>
      <p:sp>
        <p:nvSpPr>
          <p:cNvPr id="27" name="Google Shape;386;p81">
            <a:extLst>
              <a:ext uri="{FF2B5EF4-FFF2-40B4-BE49-F238E27FC236}">
                <a16:creationId xmlns:a16="http://schemas.microsoft.com/office/drawing/2014/main" id="{4711DC5D-7FE0-4477-9CC7-92C37DF23B91}"/>
              </a:ext>
            </a:extLst>
          </p:cNvPr>
          <p:cNvSpPr txBox="1">
            <a:spLocks/>
          </p:cNvSpPr>
          <p:nvPr/>
        </p:nvSpPr>
        <p:spPr>
          <a:xfrm>
            <a:off x="1385190" y="1663712"/>
            <a:ext cx="2791384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Rising debt balance mostly driven by mortgages </a:t>
            </a:r>
            <a:endParaRPr lang="en-US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oogle Shape;4913;p133">
            <a:extLst>
              <a:ext uri="{FF2B5EF4-FFF2-40B4-BE49-F238E27FC236}">
                <a16:creationId xmlns:a16="http://schemas.microsoft.com/office/drawing/2014/main" id="{7968A287-531F-4A7B-8DAD-2EA95019E578}"/>
              </a:ext>
            </a:extLst>
          </p:cNvPr>
          <p:cNvGrpSpPr/>
          <p:nvPr/>
        </p:nvGrpSpPr>
        <p:grpSpPr>
          <a:xfrm>
            <a:off x="482482" y="1555990"/>
            <a:ext cx="639964" cy="646331"/>
            <a:chOff x="-64764500" y="2280550"/>
            <a:chExt cx="316650" cy="319800"/>
          </a:xfrm>
        </p:grpSpPr>
        <p:sp>
          <p:nvSpPr>
            <p:cNvPr id="36" name="Google Shape;4914;p133">
              <a:extLst>
                <a:ext uri="{FF2B5EF4-FFF2-40B4-BE49-F238E27FC236}">
                  <a16:creationId xmlns:a16="http://schemas.microsoft.com/office/drawing/2014/main" id="{C979B1E9-B1E6-480B-BD0B-D9F1631BBC99}"/>
                </a:ext>
              </a:extLst>
            </p:cNvPr>
            <p:cNvSpPr/>
            <p:nvPr/>
          </p:nvSpPr>
          <p:spPr>
            <a:xfrm>
              <a:off x="-64764500" y="2280550"/>
              <a:ext cx="316650" cy="319800"/>
            </a:xfrm>
            <a:custGeom>
              <a:avLst/>
              <a:gdLst/>
              <a:ahLst/>
              <a:cxnLst/>
              <a:rect l="l" t="t" r="r" b="b"/>
              <a:pathLst>
                <a:path w="12666" h="12792" extrusionOk="0">
                  <a:moveTo>
                    <a:pt x="11405" y="820"/>
                  </a:moveTo>
                  <a:cubicBezTo>
                    <a:pt x="11657" y="820"/>
                    <a:pt x="11815" y="1009"/>
                    <a:pt x="11815" y="1261"/>
                  </a:cubicBezTo>
                  <a:cubicBezTo>
                    <a:pt x="11815" y="1481"/>
                    <a:pt x="11657" y="1670"/>
                    <a:pt x="11405" y="1670"/>
                  </a:cubicBezTo>
                  <a:lnTo>
                    <a:pt x="1229" y="1670"/>
                  </a:lnTo>
                  <a:cubicBezTo>
                    <a:pt x="977" y="1670"/>
                    <a:pt x="788" y="1481"/>
                    <a:pt x="788" y="1261"/>
                  </a:cubicBezTo>
                  <a:cubicBezTo>
                    <a:pt x="788" y="1009"/>
                    <a:pt x="977" y="820"/>
                    <a:pt x="1229" y="820"/>
                  </a:cubicBezTo>
                  <a:close/>
                  <a:moveTo>
                    <a:pt x="10996" y="2521"/>
                  </a:moveTo>
                  <a:lnTo>
                    <a:pt x="10996" y="8286"/>
                  </a:lnTo>
                  <a:lnTo>
                    <a:pt x="1607" y="8286"/>
                  </a:lnTo>
                  <a:lnTo>
                    <a:pt x="1607" y="2521"/>
                  </a:lnTo>
                  <a:close/>
                  <a:moveTo>
                    <a:pt x="6302" y="11027"/>
                  </a:moveTo>
                  <a:cubicBezTo>
                    <a:pt x="6554" y="11027"/>
                    <a:pt x="6743" y="11216"/>
                    <a:pt x="6743" y="11437"/>
                  </a:cubicBezTo>
                  <a:cubicBezTo>
                    <a:pt x="6743" y="11689"/>
                    <a:pt x="6522" y="11878"/>
                    <a:pt x="6302" y="11878"/>
                  </a:cubicBezTo>
                  <a:cubicBezTo>
                    <a:pt x="6050" y="11878"/>
                    <a:pt x="5892" y="11689"/>
                    <a:pt x="5892" y="11437"/>
                  </a:cubicBezTo>
                  <a:cubicBezTo>
                    <a:pt x="5892" y="11216"/>
                    <a:pt x="6113" y="11027"/>
                    <a:pt x="6302" y="11027"/>
                  </a:cubicBezTo>
                  <a:close/>
                  <a:moveTo>
                    <a:pt x="1229" y="1"/>
                  </a:moveTo>
                  <a:cubicBezTo>
                    <a:pt x="536" y="1"/>
                    <a:pt x="1" y="536"/>
                    <a:pt x="1" y="1261"/>
                  </a:cubicBezTo>
                  <a:cubicBezTo>
                    <a:pt x="1" y="1797"/>
                    <a:pt x="347" y="2238"/>
                    <a:pt x="820" y="2427"/>
                  </a:cubicBezTo>
                  <a:lnTo>
                    <a:pt x="820" y="8286"/>
                  </a:lnTo>
                  <a:lnTo>
                    <a:pt x="442" y="8286"/>
                  </a:lnTo>
                  <a:cubicBezTo>
                    <a:pt x="190" y="8286"/>
                    <a:pt x="32" y="8507"/>
                    <a:pt x="32" y="8728"/>
                  </a:cubicBezTo>
                  <a:cubicBezTo>
                    <a:pt x="32" y="8980"/>
                    <a:pt x="221" y="9169"/>
                    <a:pt x="442" y="9169"/>
                  </a:cubicBezTo>
                  <a:lnTo>
                    <a:pt x="5955" y="9169"/>
                  </a:lnTo>
                  <a:lnTo>
                    <a:pt x="5955" y="10334"/>
                  </a:lnTo>
                  <a:cubicBezTo>
                    <a:pt x="5483" y="10492"/>
                    <a:pt x="5104" y="10964"/>
                    <a:pt x="5104" y="11531"/>
                  </a:cubicBezTo>
                  <a:cubicBezTo>
                    <a:pt x="5104" y="12193"/>
                    <a:pt x="5672" y="12792"/>
                    <a:pt x="6333" y="12792"/>
                  </a:cubicBezTo>
                  <a:cubicBezTo>
                    <a:pt x="6995" y="12792"/>
                    <a:pt x="7593" y="12225"/>
                    <a:pt x="7593" y="11531"/>
                  </a:cubicBezTo>
                  <a:cubicBezTo>
                    <a:pt x="7593" y="10964"/>
                    <a:pt x="7247" y="10555"/>
                    <a:pt x="6774" y="10334"/>
                  </a:cubicBezTo>
                  <a:lnTo>
                    <a:pt x="6774" y="9169"/>
                  </a:lnTo>
                  <a:lnTo>
                    <a:pt x="12288" y="9169"/>
                  </a:lnTo>
                  <a:cubicBezTo>
                    <a:pt x="12508" y="9169"/>
                    <a:pt x="12666" y="8980"/>
                    <a:pt x="12666" y="8728"/>
                  </a:cubicBezTo>
                  <a:cubicBezTo>
                    <a:pt x="12666" y="8507"/>
                    <a:pt x="12477" y="8286"/>
                    <a:pt x="12288" y="8286"/>
                  </a:cubicBezTo>
                  <a:lnTo>
                    <a:pt x="11847" y="8286"/>
                  </a:lnTo>
                  <a:lnTo>
                    <a:pt x="11847" y="2427"/>
                  </a:lnTo>
                  <a:cubicBezTo>
                    <a:pt x="12319" y="2238"/>
                    <a:pt x="12634" y="1797"/>
                    <a:pt x="12634" y="1261"/>
                  </a:cubicBezTo>
                  <a:cubicBezTo>
                    <a:pt x="12634" y="568"/>
                    <a:pt x="12099" y="1"/>
                    <a:pt x="1140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Google Shape;4915;p133">
              <a:extLst>
                <a:ext uri="{FF2B5EF4-FFF2-40B4-BE49-F238E27FC236}">
                  <a16:creationId xmlns:a16="http://schemas.microsoft.com/office/drawing/2014/main" id="{7BBC88D7-0E5E-490B-B85A-1FD404A906D8}"/>
                </a:ext>
              </a:extLst>
            </p:cNvPr>
            <p:cNvSpPr/>
            <p:nvPr/>
          </p:nvSpPr>
          <p:spPr>
            <a:xfrm>
              <a:off x="-64679425" y="2364825"/>
              <a:ext cx="146500" cy="102450"/>
            </a:xfrm>
            <a:custGeom>
              <a:avLst/>
              <a:gdLst/>
              <a:ahLst/>
              <a:cxnLst/>
              <a:rect l="l" t="t" r="r" b="b"/>
              <a:pathLst>
                <a:path w="5860" h="4098" extrusionOk="0">
                  <a:moveTo>
                    <a:pt x="3749" y="1"/>
                  </a:moveTo>
                  <a:cubicBezTo>
                    <a:pt x="3529" y="1"/>
                    <a:pt x="3371" y="190"/>
                    <a:pt x="3371" y="442"/>
                  </a:cubicBezTo>
                  <a:cubicBezTo>
                    <a:pt x="3371" y="662"/>
                    <a:pt x="3560" y="820"/>
                    <a:pt x="3749" y="820"/>
                  </a:cubicBezTo>
                  <a:lnTo>
                    <a:pt x="4442" y="820"/>
                  </a:lnTo>
                  <a:lnTo>
                    <a:pt x="2930" y="2332"/>
                  </a:lnTo>
                  <a:lnTo>
                    <a:pt x="2395" y="1765"/>
                  </a:lnTo>
                  <a:cubicBezTo>
                    <a:pt x="2316" y="1686"/>
                    <a:pt x="2206" y="1647"/>
                    <a:pt x="2095" y="1647"/>
                  </a:cubicBezTo>
                  <a:cubicBezTo>
                    <a:pt x="1985" y="1647"/>
                    <a:pt x="1875" y="1686"/>
                    <a:pt x="1796" y="1765"/>
                  </a:cubicBezTo>
                  <a:lnTo>
                    <a:pt x="126" y="3435"/>
                  </a:lnTo>
                  <a:cubicBezTo>
                    <a:pt x="0" y="3592"/>
                    <a:pt x="0" y="3844"/>
                    <a:pt x="126" y="4033"/>
                  </a:cubicBezTo>
                  <a:cubicBezTo>
                    <a:pt x="195" y="4075"/>
                    <a:pt x="288" y="4098"/>
                    <a:pt x="384" y="4098"/>
                  </a:cubicBezTo>
                  <a:cubicBezTo>
                    <a:pt x="507" y="4098"/>
                    <a:pt x="636" y="4059"/>
                    <a:pt x="725" y="3970"/>
                  </a:cubicBezTo>
                  <a:lnTo>
                    <a:pt x="2111" y="2616"/>
                  </a:lnTo>
                  <a:lnTo>
                    <a:pt x="2647" y="3151"/>
                  </a:lnTo>
                  <a:cubicBezTo>
                    <a:pt x="2725" y="3230"/>
                    <a:pt x="2836" y="3269"/>
                    <a:pt x="2946" y="3269"/>
                  </a:cubicBezTo>
                  <a:cubicBezTo>
                    <a:pt x="3056" y="3269"/>
                    <a:pt x="3166" y="3230"/>
                    <a:pt x="3245" y="3151"/>
                  </a:cubicBezTo>
                  <a:lnTo>
                    <a:pt x="5009" y="1387"/>
                  </a:lnTo>
                  <a:lnTo>
                    <a:pt x="5009" y="2049"/>
                  </a:lnTo>
                  <a:cubicBezTo>
                    <a:pt x="5009" y="2269"/>
                    <a:pt x="5230" y="2490"/>
                    <a:pt x="5451" y="2490"/>
                  </a:cubicBezTo>
                  <a:cubicBezTo>
                    <a:pt x="5703" y="2490"/>
                    <a:pt x="5860" y="2269"/>
                    <a:pt x="5860" y="2049"/>
                  </a:cubicBezTo>
                  <a:lnTo>
                    <a:pt x="5860" y="410"/>
                  </a:lnTo>
                  <a:cubicBezTo>
                    <a:pt x="5860" y="158"/>
                    <a:pt x="5640" y="1"/>
                    <a:pt x="5419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0" name="Google Shape;386;p81">
            <a:extLst>
              <a:ext uri="{FF2B5EF4-FFF2-40B4-BE49-F238E27FC236}">
                <a16:creationId xmlns:a16="http://schemas.microsoft.com/office/drawing/2014/main" id="{B5E187A6-EF4C-470D-9EC1-5608F996AEE6}"/>
              </a:ext>
            </a:extLst>
          </p:cNvPr>
          <p:cNvSpPr txBox="1">
            <a:spLocks/>
          </p:cNvSpPr>
          <p:nvPr/>
        </p:nvSpPr>
        <p:spPr>
          <a:xfrm>
            <a:off x="1385190" y="2623551"/>
            <a:ext cx="2791384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Most personal loan applications made to refinance or consolidate existing debt</a:t>
            </a:r>
            <a:endParaRPr lang="en-US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Google Shape;386;p81">
            <a:extLst>
              <a:ext uri="{FF2B5EF4-FFF2-40B4-BE49-F238E27FC236}">
                <a16:creationId xmlns:a16="http://schemas.microsoft.com/office/drawing/2014/main" id="{9AC1F05B-94B3-4B08-90A3-84EB4571B682}"/>
              </a:ext>
            </a:extLst>
          </p:cNvPr>
          <p:cNvSpPr txBox="1">
            <a:spLocks/>
          </p:cNvSpPr>
          <p:nvPr/>
        </p:nvSpPr>
        <p:spPr>
          <a:xfrm>
            <a:off x="1385190" y="3774192"/>
            <a:ext cx="2791384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Default-wave anticipated by major US lenders</a:t>
            </a:r>
            <a:endParaRPr lang="en-US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9" name="Google Shape;5031;p133">
            <a:extLst>
              <a:ext uri="{FF2B5EF4-FFF2-40B4-BE49-F238E27FC236}">
                <a16:creationId xmlns:a16="http://schemas.microsoft.com/office/drawing/2014/main" id="{81576B9D-B6D3-4AFC-90E3-EF6F3036FA8E}"/>
              </a:ext>
            </a:extLst>
          </p:cNvPr>
          <p:cNvGrpSpPr/>
          <p:nvPr/>
        </p:nvGrpSpPr>
        <p:grpSpPr>
          <a:xfrm>
            <a:off x="482482" y="2627910"/>
            <a:ext cx="639964" cy="637612"/>
            <a:chOff x="-63666550" y="2278975"/>
            <a:chExt cx="319800" cy="318625"/>
          </a:xfrm>
        </p:grpSpPr>
        <p:sp>
          <p:nvSpPr>
            <p:cNvPr id="40" name="Google Shape;5032;p133">
              <a:extLst>
                <a:ext uri="{FF2B5EF4-FFF2-40B4-BE49-F238E27FC236}">
                  <a16:creationId xmlns:a16="http://schemas.microsoft.com/office/drawing/2014/main" id="{A11E113B-E048-4E69-AD3F-59DE1E8E8B3E}"/>
                </a:ext>
              </a:extLst>
            </p:cNvPr>
            <p:cNvSpPr/>
            <p:nvPr/>
          </p:nvSpPr>
          <p:spPr>
            <a:xfrm>
              <a:off x="-63481450" y="2309700"/>
              <a:ext cx="62225" cy="146525"/>
            </a:xfrm>
            <a:custGeom>
              <a:avLst/>
              <a:gdLst/>
              <a:ahLst/>
              <a:cxnLst/>
              <a:rect l="l" t="t" r="r" b="b"/>
              <a:pathLst>
                <a:path w="2489" h="5861" extrusionOk="0">
                  <a:moveTo>
                    <a:pt x="1229" y="0"/>
                  </a:moveTo>
                  <a:cubicBezTo>
                    <a:pt x="977" y="0"/>
                    <a:pt x="819" y="189"/>
                    <a:pt x="819" y="441"/>
                  </a:cubicBezTo>
                  <a:lnTo>
                    <a:pt x="819" y="694"/>
                  </a:lnTo>
                  <a:cubicBezTo>
                    <a:pt x="347" y="883"/>
                    <a:pt x="0" y="1324"/>
                    <a:pt x="0" y="1891"/>
                  </a:cubicBezTo>
                  <a:cubicBezTo>
                    <a:pt x="0" y="2552"/>
                    <a:pt x="536" y="2962"/>
                    <a:pt x="977" y="3277"/>
                  </a:cubicBezTo>
                  <a:cubicBezTo>
                    <a:pt x="1292" y="3497"/>
                    <a:pt x="1638" y="3749"/>
                    <a:pt x="1638" y="3970"/>
                  </a:cubicBezTo>
                  <a:cubicBezTo>
                    <a:pt x="1607" y="4254"/>
                    <a:pt x="1418" y="4411"/>
                    <a:pt x="1197" y="4411"/>
                  </a:cubicBezTo>
                  <a:cubicBezTo>
                    <a:pt x="977" y="4411"/>
                    <a:pt x="819" y="4222"/>
                    <a:pt x="819" y="3970"/>
                  </a:cubicBezTo>
                  <a:cubicBezTo>
                    <a:pt x="819" y="3749"/>
                    <a:pt x="630" y="3560"/>
                    <a:pt x="410" y="3560"/>
                  </a:cubicBezTo>
                  <a:cubicBezTo>
                    <a:pt x="189" y="3560"/>
                    <a:pt x="0" y="3749"/>
                    <a:pt x="0" y="3970"/>
                  </a:cubicBezTo>
                  <a:cubicBezTo>
                    <a:pt x="0" y="4537"/>
                    <a:pt x="347" y="4978"/>
                    <a:pt x="819" y="5167"/>
                  </a:cubicBezTo>
                  <a:lnTo>
                    <a:pt x="819" y="5419"/>
                  </a:lnTo>
                  <a:cubicBezTo>
                    <a:pt x="819" y="5671"/>
                    <a:pt x="1008" y="5860"/>
                    <a:pt x="1197" y="5860"/>
                  </a:cubicBezTo>
                  <a:cubicBezTo>
                    <a:pt x="1449" y="5860"/>
                    <a:pt x="1638" y="5671"/>
                    <a:pt x="1638" y="5419"/>
                  </a:cubicBezTo>
                  <a:lnTo>
                    <a:pt x="1638" y="5167"/>
                  </a:lnTo>
                  <a:cubicBezTo>
                    <a:pt x="2111" y="5010"/>
                    <a:pt x="2489" y="4537"/>
                    <a:pt x="2489" y="3970"/>
                  </a:cubicBezTo>
                  <a:cubicBezTo>
                    <a:pt x="2489" y="3308"/>
                    <a:pt x="1922" y="2930"/>
                    <a:pt x="1481" y="2615"/>
                  </a:cubicBezTo>
                  <a:cubicBezTo>
                    <a:pt x="1166" y="2363"/>
                    <a:pt x="819" y="2143"/>
                    <a:pt x="819" y="1891"/>
                  </a:cubicBezTo>
                  <a:cubicBezTo>
                    <a:pt x="819" y="1670"/>
                    <a:pt x="1008" y="1450"/>
                    <a:pt x="1229" y="1450"/>
                  </a:cubicBezTo>
                  <a:cubicBezTo>
                    <a:pt x="1449" y="1450"/>
                    <a:pt x="1638" y="1670"/>
                    <a:pt x="1638" y="1891"/>
                  </a:cubicBezTo>
                  <a:cubicBezTo>
                    <a:pt x="1638" y="2111"/>
                    <a:pt x="1859" y="2332"/>
                    <a:pt x="2048" y="2332"/>
                  </a:cubicBezTo>
                  <a:cubicBezTo>
                    <a:pt x="2269" y="2332"/>
                    <a:pt x="2489" y="2111"/>
                    <a:pt x="2489" y="1891"/>
                  </a:cubicBezTo>
                  <a:cubicBezTo>
                    <a:pt x="2489" y="1324"/>
                    <a:pt x="2111" y="914"/>
                    <a:pt x="1638" y="694"/>
                  </a:cubicBezTo>
                  <a:lnTo>
                    <a:pt x="1638" y="441"/>
                  </a:lnTo>
                  <a:cubicBezTo>
                    <a:pt x="1638" y="189"/>
                    <a:pt x="1449" y="0"/>
                    <a:pt x="1229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Google Shape;5033;p133">
              <a:extLst>
                <a:ext uri="{FF2B5EF4-FFF2-40B4-BE49-F238E27FC236}">
                  <a16:creationId xmlns:a16="http://schemas.microsoft.com/office/drawing/2014/main" id="{5A1BE1F2-C202-44BC-9597-E8081A1778AC}"/>
                </a:ext>
              </a:extLst>
            </p:cNvPr>
            <p:cNvSpPr/>
            <p:nvPr/>
          </p:nvSpPr>
          <p:spPr>
            <a:xfrm>
              <a:off x="-63666550" y="2278975"/>
              <a:ext cx="319800" cy="318625"/>
            </a:xfrm>
            <a:custGeom>
              <a:avLst/>
              <a:gdLst/>
              <a:ahLst/>
              <a:cxnLst/>
              <a:rect l="l" t="t" r="r" b="b"/>
              <a:pathLst>
                <a:path w="12792" h="12745" extrusionOk="0">
                  <a:moveTo>
                    <a:pt x="8601" y="914"/>
                  </a:moveTo>
                  <a:cubicBezTo>
                    <a:pt x="10429" y="914"/>
                    <a:pt x="11909" y="2427"/>
                    <a:pt x="11909" y="4222"/>
                  </a:cubicBezTo>
                  <a:cubicBezTo>
                    <a:pt x="11909" y="6050"/>
                    <a:pt x="10429" y="7530"/>
                    <a:pt x="8601" y="7530"/>
                  </a:cubicBezTo>
                  <a:cubicBezTo>
                    <a:pt x="7971" y="7530"/>
                    <a:pt x="7404" y="7373"/>
                    <a:pt x="6869" y="7026"/>
                  </a:cubicBezTo>
                  <a:lnTo>
                    <a:pt x="7089" y="6270"/>
                  </a:lnTo>
                  <a:cubicBezTo>
                    <a:pt x="7144" y="5997"/>
                    <a:pt x="6938" y="5748"/>
                    <a:pt x="6677" y="5748"/>
                  </a:cubicBezTo>
                  <a:cubicBezTo>
                    <a:pt x="6637" y="5748"/>
                    <a:pt x="6596" y="5754"/>
                    <a:pt x="6554" y="5766"/>
                  </a:cubicBezTo>
                  <a:lnTo>
                    <a:pt x="5829" y="5955"/>
                  </a:lnTo>
                  <a:cubicBezTo>
                    <a:pt x="5514" y="5451"/>
                    <a:pt x="5293" y="4852"/>
                    <a:pt x="5293" y="4222"/>
                  </a:cubicBezTo>
                  <a:cubicBezTo>
                    <a:pt x="5293" y="2364"/>
                    <a:pt x="6774" y="914"/>
                    <a:pt x="8601" y="914"/>
                  </a:cubicBezTo>
                  <a:close/>
                  <a:moveTo>
                    <a:pt x="6050" y="6711"/>
                  </a:moveTo>
                  <a:lnTo>
                    <a:pt x="5041" y="10303"/>
                  </a:lnTo>
                  <a:lnTo>
                    <a:pt x="4789" y="9421"/>
                  </a:lnTo>
                  <a:cubicBezTo>
                    <a:pt x="4749" y="9221"/>
                    <a:pt x="4571" y="9098"/>
                    <a:pt x="4389" y="9098"/>
                  </a:cubicBezTo>
                  <a:cubicBezTo>
                    <a:pt x="4284" y="9098"/>
                    <a:pt x="4177" y="9139"/>
                    <a:pt x="4096" y="9232"/>
                  </a:cubicBezTo>
                  <a:lnTo>
                    <a:pt x="1418" y="11910"/>
                  </a:lnTo>
                  <a:lnTo>
                    <a:pt x="820" y="11311"/>
                  </a:lnTo>
                  <a:lnTo>
                    <a:pt x="3529" y="8665"/>
                  </a:lnTo>
                  <a:cubicBezTo>
                    <a:pt x="3781" y="8444"/>
                    <a:pt x="3655" y="8034"/>
                    <a:pt x="3340" y="7971"/>
                  </a:cubicBezTo>
                  <a:lnTo>
                    <a:pt x="2458" y="7719"/>
                  </a:lnTo>
                  <a:lnTo>
                    <a:pt x="6050" y="6711"/>
                  </a:lnTo>
                  <a:close/>
                  <a:moveTo>
                    <a:pt x="8664" y="1"/>
                  </a:moveTo>
                  <a:cubicBezTo>
                    <a:pt x="6365" y="1"/>
                    <a:pt x="4506" y="1860"/>
                    <a:pt x="4506" y="4159"/>
                  </a:cubicBezTo>
                  <a:cubicBezTo>
                    <a:pt x="4506" y="4852"/>
                    <a:pt x="4663" y="5514"/>
                    <a:pt x="5041" y="6113"/>
                  </a:cubicBezTo>
                  <a:lnTo>
                    <a:pt x="820" y="7341"/>
                  </a:lnTo>
                  <a:cubicBezTo>
                    <a:pt x="631" y="7373"/>
                    <a:pt x="505" y="7562"/>
                    <a:pt x="505" y="7719"/>
                  </a:cubicBezTo>
                  <a:cubicBezTo>
                    <a:pt x="505" y="7940"/>
                    <a:pt x="631" y="8097"/>
                    <a:pt x="820" y="8129"/>
                  </a:cubicBezTo>
                  <a:lnTo>
                    <a:pt x="2458" y="8570"/>
                  </a:lnTo>
                  <a:lnTo>
                    <a:pt x="316" y="10712"/>
                  </a:lnTo>
                  <a:cubicBezTo>
                    <a:pt x="1" y="11027"/>
                    <a:pt x="1" y="11563"/>
                    <a:pt x="316" y="11910"/>
                  </a:cubicBezTo>
                  <a:lnTo>
                    <a:pt x="883" y="12508"/>
                  </a:lnTo>
                  <a:cubicBezTo>
                    <a:pt x="1040" y="12666"/>
                    <a:pt x="1253" y="12744"/>
                    <a:pt x="1469" y="12744"/>
                  </a:cubicBezTo>
                  <a:cubicBezTo>
                    <a:pt x="1686" y="12744"/>
                    <a:pt x="1907" y="12666"/>
                    <a:pt x="2080" y="12508"/>
                  </a:cubicBezTo>
                  <a:lnTo>
                    <a:pt x="4254" y="10334"/>
                  </a:lnTo>
                  <a:lnTo>
                    <a:pt x="4663" y="11973"/>
                  </a:lnTo>
                  <a:cubicBezTo>
                    <a:pt x="4727" y="12181"/>
                    <a:pt x="4906" y="12292"/>
                    <a:pt x="5078" y="12292"/>
                  </a:cubicBezTo>
                  <a:cubicBezTo>
                    <a:pt x="5244" y="12292"/>
                    <a:pt x="5405" y="12189"/>
                    <a:pt x="5451" y="11973"/>
                  </a:cubicBezTo>
                  <a:lnTo>
                    <a:pt x="6680" y="7782"/>
                  </a:lnTo>
                  <a:cubicBezTo>
                    <a:pt x="7278" y="8097"/>
                    <a:pt x="7940" y="8286"/>
                    <a:pt x="8664" y="8286"/>
                  </a:cubicBezTo>
                  <a:cubicBezTo>
                    <a:pt x="10933" y="8286"/>
                    <a:pt x="12792" y="6428"/>
                    <a:pt x="12792" y="4159"/>
                  </a:cubicBezTo>
                  <a:cubicBezTo>
                    <a:pt x="12792" y="1860"/>
                    <a:pt x="10933" y="1"/>
                    <a:pt x="8664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42" name="Google Shape;7226;p138">
            <a:extLst>
              <a:ext uri="{FF2B5EF4-FFF2-40B4-BE49-F238E27FC236}">
                <a16:creationId xmlns:a16="http://schemas.microsoft.com/office/drawing/2014/main" id="{5F246CC6-3F70-4BD0-A9A0-0F72E8215B8C}"/>
              </a:ext>
            </a:extLst>
          </p:cNvPr>
          <p:cNvGrpSpPr/>
          <p:nvPr/>
        </p:nvGrpSpPr>
        <p:grpSpPr>
          <a:xfrm>
            <a:off x="486964" y="3689650"/>
            <a:ext cx="635482" cy="599971"/>
            <a:chOff x="-25844850" y="2357750"/>
            <a:chExt cx="296175" cy="279625"/>
          </a:xfrm>
        </p:grpSpPr>
        <p:sp>
          <p:nvSpPr>
            <p:cNvPr id="43" name="Google Shape;7227;p138">
              <a:extLst>
                <a:ext uri="{FF2B5EF4-FFF2-40B4-BE49-F238E27FC236}">
                  <a16:creationId xmlns:a16="http://schemas.microsoft.com/office/drawing/2014/main" id="{CF0A9A4A-E225-4DCB-A9BF-31A9DABBBB13}"/>
                </a:ext>
              </a:extLst>
            </p:cNvPr>
            <p:cNvSpPr/>
            <p:nvPr/>
          </p:nvSpPr>
          <p:spPr>
            <a:xfrm>
              <a:off x="-25792075" y="2428625"/>
              <a:ext cx="191425" cy="208750"/>
            </a:xfrm>
            <a:custGeom>
              <a:avLst/>
              <a:gdLst/>
              <a:ahLst/>
              <a:cxnLst/>
              <a:rect l="l" t="t" r="r" b="b"/>
              <a:pathLst>
                <a:path w="7657" h="8350" extrusionOk="0">
                  <a:moveTo>
                    <a:pt x="3781" y="2773"/>
                  </a:moveTo>
                  <a:cubicBezTo>
                    <a:pt x="3970" y="2773"/>
                    <a:pt x="4128" y="2931"/>
                    <a:pt x="4128" y="3120"/>
                  </a:cubicBezTo>
                  <a:cubicBezTo>
                    <a:pt x="4128" y="3309"/>
                    <a:pt x="3970" y="3466"/>
                    <a:pt x="3781" y="3466"/>
                  </a:cubicBezTo>
                  <a:cubicBezTo>
                    <a:pt x="3592" y="3466"/>
                    <a:pt x="3435" y="3309"/>
                    <a:pt x="3435" y="3120"/>
                  </a:cubicBezTo>
                  <a:cubicBezTo>
                    <a:pt x="3435" y="2931"/>
                    <a:pt x="3592" y="2773"/>
                    <a:pt x="3781" y="2773"/>
                  </a:cubicBezTo>
                  <a:close/>
                  <a:moveTo>
                    <a:pt x="3813" y="694"/>
                  </a:moveTo>
                  <a:cubicBezTo>
                    <a:pt x="5167" y="694"/>
                    <a:pt x="6270" y="1796"/>
                    <a:pt x="6270" y="3120"/>
                  </a:cubicBezTo>
                  <a:lnTo>
                    <a:pt x="6270" y="6239"/>
                  </a:lnTo>
                  <a:lnTo>
                    <a:pt x="4191" y="6239"/>
                  </a:lnTo>
                  <a:lnTo>
                    <a:pt x="4191" y="4096"/>
                  </a:lnTo>
                  <a:cubicBezTo>
                    <a:pt x="4569" y="3939"/>
                    <a:pt x="4884" y="3592"/>
                    <a:pt x="4884" y="3120"/>
                  </a:cubicBezTo>
                  <a:cubicBezTo>
                    <a:pt x="4884" y="2521"/>
                    <a:pt x="4411" y="2111"/>
                    <a:pt x="3876" y="2111"/>
                  </a:cubicBezTo>
                  <a:cubicBezTo>
                    <a:pt x="3277" y="2111"/>
                    <a:pt x="2836" y="2584"/>
                    <a:pt x="2836" y="3120"/>
                  </a:cubicBezTo>
                  <a:cubicBezTo>
                    <a:pt x="2836" y="3561"/>
                    <a:pt x="3120" y="3939"/>
                    <a:pt x="3561" y="4096"/>
                  </a:cubicBezTo>
                  <a:lnTo>
                    <a:pt x="3561" y="6239"/>
                  </a:lnTo>
                  <a:lnTo>
                    <a:pt x="1450" y="6239"/>
                  </a:lnTo>
                  <a:lnTo>
                    <a:pt x="1450" y="3120"/>
                  </a:lnTo>
                  <a:lnTo>
                    <a:pt x="1387" y="3120"/>
                  </a:lnTo>
                  <a:cubicBezTo>
                    <a:pt x="1387" y="1796"/>
                    <a:pt x="2489" y="694"/>
                    <a:pt x="3813" y="694"/>
                  </a:cubicBezTo>
                  <a:close/>
                  <a:moveTo>
                    <a:pt x="6585" y="6932"/>
                  </a:moveTo>
                  <a:cubicBezTo>
                    <a:pt x="6774" y="6932"/>
                    <a:pt x="6932" y="7089"/>
                    <a:pt x="6932" y="7310"/>
                  </a:cubicBezTo>
                  <a:lnTo>
                    <a:pt x="6932" y="7625"/>
                  </a:lnTo>
                  <a:lnTo>
                    <a:pt x="662" y="7625"/>
                  </a:lnTo>
                  <a:lnTo>
                    <a:pt x="662" y="7310"/>
                  </a:lnTo>
                  <a:cubicBezTo>
                    <a:pt x="662" y="7089"/>
                    <a:pt x="820" y="6932"/>
                    <a:pt x="1040" y="6932"/>
                  </a:cubicBezTo>
                  <a:close/>
                  <a:moveTo>
                    <a:pt x="3813" y="1"/>
                  </a:moveTo>
                  <a:cubicBezTo>
                    <a:pt x="2080" y="1"/>
                    <a:pt x="725" y="1418"/>
                    <a:pt x="725" y="3120"/>
                  </a:cubicBezTo>
                  <a:lnTo>
                    <a:pt x="725" y="6302"/>
                  </a:lnTo>
                  <a:cubicBezTo>
                    <a:pt x="316" y="6459"/>
                    <a:pt x="1" y="6837"/>
                    <a:pt x="1" y="7310"/>
                  </a:cubicBezTo>
                  <a:lnTo>
                    <a:pt x="1" y="8003"/>
                  </a:lnTo>
                  <a:cubicBezTo>
                    <a:pt x="1" y="8192"/>
                    <a:pt x="158" y="8349"/>
                    <a:pt x="347" y="8349"/>
                  </a:cubicBezTo>
                  <a:lnTo>
                    <a:pt x="7278" y="8349"/>
                  </a:lnTo>
                  <a:cubicBezTo>
                    <a:pt x="7499" y="8349"/>
                    <a:pt x="7656" y="8192"/>
                    <a:pt x="7656" y="8003"/>
                  </a:cubicBezTo>
                  <a:lnTo>
                    <a:pt x="7656" y="7310"/>
                  </a:lnTo>
                  <a:cubicBezTo>
                    <a:pt x="7593" y="6837"/>
                    <a:pt x="7341" y="6428"/>
                    <a:pt x="6932" y="6302"/>
                  </a:cubicBezTo>
                  <a:lnTo>
                    <a:pt x="6932" y="3120"/>
                  </a:lnTo>
                  <a:cubicBezTo>
                    <a:pt x="6932" y="1387"/>
                    <a:pt x="5514" y="1"/>
                    <a:pt x="381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Google Shape;7228;p138">
              <a:extLst>
                <a:ext uri="{FF2B5EF4-FFF2-40B4-BE49-F238E27FC236}">
                  <a16:creationId xmlns:a16="http://schemas.microsoft.com/office/drawing/2014/main" id="{1DD214BC-CDF1-4B77-9C5D-431A7D2A0FAB}"/>
                </a:ext>
              </a:extLst>
            </p:cNvPr>
            <p:cNvSpPr/>
            <p:nvPr/>
          </p:nvSpPr>
          <p:spPr>
            <a:xfrm>
              <a:off x="-25602250" y="2497950"/>
              <a:ext cx="53575" cy="17350"/>
            </a:xfrm>
            <a:custGeom>
              <a:avLst/>
              <a:gdLst/>
              <a:ahLst/>
              <a:cxnLst/>
              <a:rect l="l" t="t" r="r" b="b"/>
              <a:pathLst>
                <a:path w="2143" h="694" extrusionOk="0">
                  <a:moveTo>
                    <a:pt x="378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78" y="693"/>
                  </a:cubicBezTo>
                  <a:lnTo>
                    <a:pt x="1796" y="693"/>
                  </a:lnTo>
                  <a:cubicBezTo>
                    <a:pt x="1985" y="693"/>
                    <a:pt x="2143" y="536"/>
                    <a:pt x="2143" y="347"/>
                  </a:cubicBezTo>
                  <a:cubicBezTo>
                    <a:pt x="2143" y="158"/>
                    <a:pt x="1985" y="0"/>
                    <a:pt x="179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Google Shape;7229;p138">
              <a:extLst>
                <a:ext uri="{FF2B5EF4-FFF2-40B4-BE49-F238E27FC236}">
                  <a16:creationId xmlns:a16="http://schemas.microsoft.com/office/drawing/2014/main" id="{3B675C7B-E9FE-4648-AE2A-9EEE88CF3356}"/>
                </a:ext>
              </a:extLst>
            </p:cNvPr>
            <p:cNvSpPr/>
            <p:nvPr/>
          </p:nvSpPr>
          <p:spPr>
            <a:xfrm>
              <a:off x="-25844850" y="2497950"/>
              <a:ext cx="52800" cy="17350"/>
            </a:xfrm>
            <a:custGeom>
              <a:avLst/>
              <a:gdLst/>
              <a:ahLst/>
              <a:cxnLst/>
              <a:rect l="l" t="t" r="r" b="b"/>
              <a:pathLst>
                <a:path w="2112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7" y="693"/>
                  </a:cubicBezTo>
                  <a:lnTo>
                    <a:pt x="1765" y="693"/>
                  </a:lnTo>
                  <a:cubicBezTo>
                    <a:pt x="1954" y="693"/>
                    <a:pt x="2112" y="536"/>
                    <a:pt x="2112" y="347"/>
                  </a:cubicBezTo>
                  <a:cubicBezTo>
                    <a:pt x="2080" y="158"/>
                    <a:pt x="1923" y="0"/>
                    <a:pt x="176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Google Shape;7230;p138">
              <a:extLst>
                <a:ext uri="{FF2B5EF4-FFF2-40B4-BE49-F238E27FC236}">
                  <a16:creationId xmlns:a16="http://schemas.microsoft.com/office/drawing/2014/main" id="{4E0379AA-126E-4CA3-B835-8A5E59BD5D8F}"/>
                </a:ext>
              </a:extLst>
            </p:cNvPr>
            <p:cNvSpPr/>
            <p:nvPr/>
          </p:nvSpPr>
          <p:spPr>
            <a:xfrm>
              <a:off x="-25706225" y="2357750"/>
              <a:ext cx="17350" cy="53575"/>
            </a:xfrm>
            <a:custGeom>
              <a:avLst/>
              <a:gdLst/>
              <a:ahLst/>
              <a:cxnLst/>
              <a:rect l="l" t="t" r="r" b="b"/>
              <a:pathLst>
                <a:path w="694" h="2143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1764"/>
                  </a:lnTo>
                  <a:cubicBezTo>
                    <a:pt x="1" y="1985"/>
                    <a:pt x="158" y="2143"/>
                    <a:pt x="347" y="2143"/>
                  </a:cubicBezTo>
                  <a:cubicBezTo>
                    <a:pt x="536" y="2143"/>
                    <a:pt x="694" y="1985"/>
                    <a:pt x="694" y="1764"/>
                  </a:cubicBezTo>
                  <a:lnTo>
                    <a:pt x="694" y="347"/>
                  </a:lnTo>
                  <a:cubicBezTo>
                    <a:pt x="694" y="158"/>
                    <a:pt x="536" y="0"/>
                    <a:pt x="347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7" name="Google Shape;7231;p138">
              <a:extLst>
                <a:ext uri="{FF2B5EF4-FFF2-40B4-BE49-F238E27FC236}">
                  <a16:creationId xmlns:a16="http://schemas.microsoft.com/office/drawing/2014/main" id="{FB3B7C3E-003A-4E8D-8E02-F06EB696FCFB}"/>
                </a:ext>
              </a:extLst>
            </p:cNvPr>
            <p:cNvSpPr/>
            <p:nvPr/>
          </p:nvSpPr>
          <p:spPr>
            <a:xfrm>
              <a:off x="-25804675" y="2400275"/>
              <a:ext cx="42550" cy="41775"/>
            </a:xfrm>
            <a:custGeom>
              <a:avLst/>
              <a:gdLst/>
              <a:ahLst/>
              <a:cxnLst/>
              <a:rect l="l" t="t" r="r" b="b"/>
              <a:pathLst>
                <a:path w="1702" h="1671" extrusionOk="0">
                  <a:moveTo>
                    <a:pt x="351" y="0"/>
                  </a:moveTo>
                  <a:cubicBezTo>
                    <a:pt x="260" y="0"/>
                    <a:pt x="174" y="32"/>
                    <a:pt x="127" y="95"/>
                  </a:cubicBezTo>
                  <a:cubicBezTo>
                    <a:pt x="0" y="189"/>
                    <a:pt x="0" y="442"/>
                    <a:pt x="127" y="568"/>
                  </a:cubicBezTo>
                  <a:lnTo>
                    <a:pt x="1103" y="1544"/>
                  </a:lnTo>
                  <a:cubicBezTo>
                    <a:pt x="1166" y="1607"/>
                    <a:pt x="1261" y="1670"/>
                    <a:pt x="1324" y="1670"/>
                  </a:cubicBezTo>
                  <a:cubicBezTo>
                    <a:pt x="1418" y="1670"/>
                    <a:pt x="1544" y="1607"/>
                    <a:pt x="1576" y="1544"/>
                  </a:cubicBezTo>
                  <a:cubicBezTo>
                    <a:pt x="1702" y="1418"/>
                    <a:pt x="1702" y="1198"/>
                    <a:pt x="1576" y="1072"/>
                  </a:cubicBezTo>
                  <a:lnTo>
                    <a:pt x="599" y="95"/>
                  </a:lnTo>
                  <a:cubicBezTo>
                    <a:pt x="536" y="32"/>
                    <a:pt x="442" y="0"/>
                    <a:pt x="35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8" name="Google Shape;7232;p138">
              <a:extLst>
                <a:ext uri="{FF2B5EF4-FFF2-40B4-BE49-F238E27FC236}">
                  <a16:creationId xmlns:a16="http://schemas.microsoft.com/office/drawing/2014/main" id="{B94AD1AD-337B-4366-8C2E-FABF7B321ADC}"/>
                </a:ext>
              </a:extLst>
            </p:cNvPr>
            <p:cNvSpPr/>
            <p:nvPr/>
          </p:nvSpPr>
          <p:spPr>
            <a:xfrm>
              <a:off x="-25632175" y="2400275"/>
              <a:ext cx="41750" cy="41775"/>
            </a:xfrm>
            <a:custGeom>
              <a:avLst/>
              <a:gdLst/>
              <a:ahLst/>
              <a:cxnLst/>
              <a:rect l="l" t="t" r="r" b="b"/>
              <a:pathLst>
                <a:path w="1670" h="1671" extrusionOk="0">
                  <a:moveTo>
                    <a:pt x="1327" y="0"/>
                  </a:moveTo>
                  <a:cubicBezTo>
                    <a:pt x="1237" y="0"/>
                    <a:pt x="1150" y="32"/>
                    <a:pt x="1103" y="95"/>
                  </a:cubicBezTo>
                  <a:lnTo>
                    <a:pt x="95" y="1072"/>
                  </a:lnTo>
                  <a:cubicBezTo>
                    <a:pt x="0" y="1198"/>
                    <a:pt x="0" y="1418"/>
                    <a:pt x="95" y="1544"/>
                  </a:cubicBezTo>
                  <a:cubicBezTo>
                    <a:pt x="158" y="1607"/>
                    <a:pt x="252" y="1670"/>
                    <a:pt x="347" y="1670"/>
                  </a:cubicBezTo>
                  <a:cubicBezTo>
                    <a:pt x="410" y="1670"/>
                    <a:pt x="536" y="1607"/>
                    <a:pt x="567" y="1544"/>
                  </a:cubicBezTo>
                  <a:lnTo>
                    <a:pt x="1575" y="568"/>
                  </a:lnTo>
                  <a:cubicBezTo>
                    <a:pt x="1670" y="442"/>
                    <a:pt x="1670" y="189"/>
                    <a:pt x="1575" y="95"/>
                  </a:cubicBezTo>
                  <a:cubicBezTo>
                    <a:pt x="1512" y="32"/>
                    <a:pt x="1418" y="0"/>
                    <a:pt x="1327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1BD4CC8B-F9EE-4434-B926-0388B0D7D4B0}"/>
              </a:ext>
            </a:extLst>
          </p:cNvPr>
          <p:cNvSpPr/>
          <p:nvPr/>
        </p:nvSpPr>
        <p:spPr bwMode="invGray">
          <a:xfrm flipV="1">
            <a:off x="4314651" y="2518276"/>
            <a:ext cx="903235" cy="856881"/>
          </a:xfrm>
          <a:prstGeom prst="rightArrow">
            <a:avLst>
              <a:gd name="adj1" fmla="val 50000"/>
              <a:gd name="adj2" fmla="val 58761"/>
            </a:avLst>
          </a:prstGeom>
          <a:solidFill>
            <a:schemeClr val="bg1">
              <a:lumMod val="75000"/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1050" dirty="0">
              <a:solidFill>
                <a:srgbClr val="F3F3F3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Google Shape;4952;p133">
            <a:extLst>
              <a:ext uri="{FF2B5EF4-FFF2-40B4-BE49-F238E27FC236}">
                <a16:creationId xmlns:a16="http://schemas.microsoft.com/office/drawing/2014/main" id="{3F4F71C5-AC64-4331-B75F-D7430F9701F2}"/>
              </a:ext>
            </a:extLst>
          </p:cNvPr>
          <p:cNvSpPr/>
          <p:nvPr/>
        </p:nvSpPr>
        <p:spPr>
          <a:xfrm>
            <a:off x="5827339" y="2092739"/>
            <a:ext cx="639964" cy="644753"/>
          </a:xfrm>
          <a:custGeom>
            <a:avLst/>
            <a:gdLst/>
            <a:ahLst/>
            <a:cxnLst/>
            <a:rect l="l" t="t" r="r" b="b"/>
            <a:pathLst>
              <a:path w="12697" h="12792" extrusionOk="0">
                <a:moveTo>
                  <a:pt x="7310" y="3435"/>
                </a:moveTo>
                <a:cubicBezTo>
                  <a:pt x="7404" y="3435"/>
                  <a:pt x="7467" y="3498"/>
                  <a:pt x="7436" y="3624"/>
                </a:cubicBezTo>
                <a:cubicBezTo>
                  <a:pt x="7310" y="3939"/>
                  <a:pt x="7247" y="4223"/>
                  <a:pt x="7215" y="4538"/>
                </a:cubicBezTo>
                <a:lnTo>
                  <a:pt x="5419" y="4538"/>
                </a:lnTo>
                <a:cubicBezTo>
                  <a:pt x="5388" y="4223"/>
                  <a:pt x="5293" y="3908"/>
                  <a:pt x="5199" y="3624"/>
                </a:cubicBezTo>
                <a:cubicBezTo>
                  <a:pt x="5167" y="3498"/>
                  <a:pt x="5230" y="3435"/>
                  <a:pt x="5325" y="3435"/>
                </a:cubicBezTo>
                <a:close/>
                <a:moveTo>
                  <a:pt x="7121" y="5357"/>
                </a:moveTo>
                <a:cubicBezTo>
                  <a:pt x="7089" y="6428"/>
                  <a:pt x="7310" y="7436"/>
                  <a:pt x="7845" y="8381"/>
                </a:cubicBezTo>
                <a:lnTo>
                  <a:pt x="8003" y="8665"/>
                </a:lnTo>
                <a:lnTo>
                  <a:pt x="4726" y="8665"/>
                </a:lnTo>
                <a:lnTo>
                  <a:pt x="4852" y="8381"/>
                </a:lnTo>
                <a:cubicBezTo>
                  <a:pt x="5356" y="7436"/>
                  <a:pt x="5577" y="6396"/>
                  <a:pt x="5545" y="5357"/>
                </a:cubicBezTo>
                <a:close/>
                <a:moveTo>
                  <a:pt x="8381" y="9484"/>
                </a:moveTo>
                <a:cubicBezTo>
                  <a:pt x="8633" y="9484"/>
                  <a:pt x="8790" y="9704"/>
                  <a:pt x="8790" y="9925"/>
                </a:cubicBezTo>
                <a:lnTo>
                  <a:pt x="8790" y="10335"/>
                </a:lnTo>
                <a:lnTo>
                  <a:pt x="3813" y="10335"/>
                </a:lnTo>
                <a:lnTo>
                  <a:pt x="3813" y="9925"/>
                </a:lnTo>
                <a:lnTo>
                  <a:pt x="3844" y="9925"/>
                </a:lnTo>
                <a:cubicBezTo>
                  <a:pt x="3844" y="9704"/>
                  <a:pt x="4065" y="9484"/>
                  <a:pt x="4254" y="9484"/>
                </a:cubicBezTo>
                <a:close/>
                <a:moveTo>
                  <a:pt x="9200" y="11154"/>
                </a:moveTo>
                <a:cubicBezTo>
                  <a:pt x="9452" y="11154"/>
                  <a:pt x="9609" y="11343"/>
                  <a:pt x="9609" y="11595"/>
                </a:cubicBezTo>
                <a:lnTo>
                  <a:pt x="9609" y="12004"/>
                </a:lnTo>
                <a:lnTo>
                  <a:pt x="2993" y="12004"/>
                </a:lnTo>
                <a:lnTo>
                  <a:pt x="2993" y="11595"/>
                </a:lnTo>
                <a:lnTo>
                  <a:pt x="3025" y="11595"/>
                </a:lnTo>
                <a:cubicBezTo>
                  <a:pt x="3025" y="11343"/>
                  <a:pt x="3214" y="11154"/>
                  <a:pt x="3435" y="11154"/>
                </a:cubicBezTo>
                <a:close/>
                <a:moveTo>
                  <a:pt x="6333" y="1"/>
                </a:moveTo>
                <a:cubicBezTo>
                  <a:pt x="6144" y="1"/>
                  <a:pt x="5955" y="190"/>
                  <a:pt x="5955" y="442"/>
                </a:cubicBezTo>
                <a:lnTo>
                  <a:pt x="5955" y="883"/>
                </a:lnTo>
                <a:lnTo>
                  <a:pt x="5514" y="883"/>
                </a:lnTo>
                <a:cubicBezTo>
                  <a:pt x="5262" y="883"/>
                  <a:pt x="5104" y="1072"/>
                  <a:pt x="5104" y="1261"/>
                </a:cubicBezTo>
                <a:cubicBezTo>
                  <a:pt x="5104" y="1513"/>
                  <a:pt x="5325" y="1702"/>
                  <a:pt x="5514" y="1702"/>
                </a:cubicBezTo>
                <a:lnTo>
                  <a:pt x="5955" y="1702"/>
                </a:lnTo>
                <a:lnTo>
                  <a:pt x="5955" y="2521"/>
                </a:lnTo>
                <a:lnTo>
                  <a:pt x="5356" y="2521"/>
                </a:lnTo>
                <a:cubicBezTo>
                  <a:pt x="4695" y="2521"/>
                  <a:pt x="4222" y="3183"/>
                  <a:pt x="4443" y="3813"/>
                </a:cubicBezTo>
                <a:cubicBezTo>
                  <a:pt x="4537" y="4034"/>
                  <a:pt x="4569" y="4254"/>
                  <a:pt x="4632" y="4443"/>
                </a:cubicBezTo>
                <a:lnTo>
                  <a:pt x="4285" y="4443"/>
                </a:lnTo>
                <a:cubicBezTo>
                  <a:pt x="4065" y="4443"/>
                  <a:pt x="3907" y="4664"/>
                  <a:pt x="3907" y="4884"/>
                </a:cubicBezTo>
                <a:cubicBezTo>
                  <a:pt x="3907" y="5136"/>
                  <a:pt x="4096" y="5325"/>
                  <a:pt x="4285" y="5325"/>
                </a:cubicBezTo>
                <a:lnTo>
                  <a:pt x="4726" y="5325"/>
                </a:lnTo>
                <a:cubicBezTo>
                  <a:pt x="4821" y="6901"/>
                  <a:pt x="4191" y="7846"/>
                  <a:pt x="3718" y="8791"/>
                </a:cubicBezTo>
                <a:cubicBezTo>
                  <a:pt x="3308" y="8980"/>
                  <a:pt x="3025" y="9421"/>
                  <a:pt x="3025" y="9893"/>
                </a:cubicBezTo>
                <a:lnTo>
                  <a:pt x="3025" y="10366"/>
                </a:lnTo>
                <a:cubicBezTo>
                  <a:pt x="2552" y="10524"/>
                  <a:pt x="2206" y="10996"/>
                  <a:pt x="2206" y="11532"/>
                </a:cubicBezTo>
                <a:lnTo>
                  <a:pt x="2206" y="11973"/>
                </a:lnTo>
                <a:lnTo>
                  <a:pt x="442" y="11973"/>
                </a:lnTo>
                <a:cubicBezTo>
                  <a:pt x="189" y="11973"/>
                  <a:pt x="0" y="12162"/>
                  <a:pt x="0" y="12382"/>
                </a:cubicBezTo>
                <a:cubicBezTo>
                  <a:pt x="0" y="12603"/>
                  <a:pt x="158" y="12792"/>
                  <a:pt x="379" y="12792"/>
                </a:cubicBezTo>
                <a:lnTo>
                  <a:pt x="12256" y="12792"/>
                </a:lnTo>
                <a:cubicBezTo>
                  <a:pt x="12476" y="12792"/>
                  <a:pt x="12697" y="12603"/>
                  <a:pt x="12697" y="12382"/>
                </a:cubicBezTo>
                <a:cubicBezTo>
                  <a:pt x="12697" y="12130"/>
                  <a:pt x="12476" y="11973"/>
                  <a:pt x="12256" y="11973"/>
                </a:cubicBezTo>
                <a:lnTo>
                  <a:pt x="10460" y="11973"/>
                </a:lnTo>
                <a:lnTo>
                  <a:pt x="10460" y="11532"/>
                </a:lnTo>
                <a:cubicBezTo>
                  <a:pt x="10460" y="10996"/>
                  <a:pt x="10114" y="10555"/>
                  <a:pt x="9641" y="10366"/>
                </a:cubicBezTo>
                <a:lnTo>
                  <a:pt x="9641" y="9893"/>
                </a:lnTo>
                <a:cubicBezTo>
                  <a:pt x="9641" y="9421"/>
                  <a:pt x="9357" y="8980"/>
                  <a:pt x="8979" y="8791"/>
                </a:cubicBezTo>
                <a:cubicBezTo>
                  <a:pt x="8507" y="7877"/>
                  <a:pt x="7877" y="6932"/>
                  <a:pt x="7940" y="5325"/>
                </a:cubicBezTo>
                <a:lnTo>
                  <a:pt x="8381" y="5325"/>
                </a:lnTo>
                <a:cubicBezTo>
                  <a:pt x="8633" y="5325"/>
                  <a:pt x="8790" y="5136"/>
                  <a:pt x="8790" y="4884"/>
                </a:cubicBezTo>
                <a:cubicBezTo>
                  <a:pt x="8790" y="4664"/>
                  <a:pt x="8570" y="4443"/>
                  <a:pt x="8381" y="4443"/>
                </a:cubicBezTo>
                <a:lnTo>
                  <a:pt x="8034" y="4443"/>
                </a:lnTo>
                <a:cubicBezTo>
                  <a:pt x="8066" y="4254"/>
                  <a:pt x="8160" y="4034"/>
                  <a:pt x="8223" y="3813"/>
                </a:cubicBezTo>
                <a:cubicBezTo>
                  <a:pt x="8475" y="3183"/>
                  <a:pt x="8003" y="2521"/>
                  <a:pt x="7310" y="2521"/>
                </a:cubicBezTo>
                <a:lnTo>
                  <a:pt x="6743" y="2521"/>
                </a:lnTo>
                <a:lnTo>
                  <a:pt x="6743" y="1702"/>
                </a:lnTo>
                <a:lnTo>
                  <a:pt x="7184" y="1702"/>
                </a:lnTo>
                <a:cubicBezTo>
                  <a:pt x="7404" y="1702"/>
                  <a:pt x="7562" y="1513"/>
                  <a:pt x="7562" y="1261"/>
                </a:cubicBezTo>
                <a:cubicBezTo>
                  <a:pt x="7562" y="1041"/>
                  <a:pt x="7373" y="883"/>
                  <a:pt x="7184" y="883"/>
                </a:cubicBezTo>
                <a:lnTo>
                  <a:pt x="6743" y="883"/>
                </a:lnTo>
                <a:lnTo>
                  <a:pt x="6743" y="442"/>
                </a:lnTo>
                <a:cubicBezTo>
                  <a:pt x="6743" y="190"/>
                  <a:pt x="6522" y="1"/>
                  <a:pt x="633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Google Shape;386;p81">
            <a:extLst>
              <a:ext uri="{FF2B5EF4-FFF2-40B4-BE49-F238E27FC236}">
                <a16:creationId xmlns:a16="http://schemas.microsoft.com/office/drawing/2014/main" id="{E0DD58FE-E7F2-4FD2-975E-DA794A42B70A}"/>
              </a:ext>
            </a:extLst>
          </p:cNvPr>
          <p:cNvSpPr txBox="1">
            <a:spLocks/>
          </p:cNvSpPr>
          <p:nvPr/>
        </p:nvSpPr>
        <p:spPr>
          <a:xfrm>
            <a:off x="6584285" y="2091950"/>
            <a:ext cx="234904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Conservative risk management helps prevent impending default-wave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2" name="Google Shape;9058;p142">
            <a:extLst>
              <a:ext uri="{FF2B5EF4-FFF2-40B4-BE49-F238E27FC236}">
                <a16:creationId xmlns:a16="http://schemas.microsoft.com/office/drawing/2014/main" id="{4F9667F1-B572-41FB-8B2B-41BD56254775}"/>
              </a:ext>
            </a:extLst>
          </p:cNvPr>
          <p:cNvGrpSpPr/>
          <p:nvPr/>
        </p:nvGrpSpPr>
        <p:grpSpPr>
          <a:xfrm>
            <a:off x="5799295" y="3155939"/>
            <a:ext cx="670225" cy="643294"/>
            <a:chOff x="2140225" y="2318650"/>
            <a:chExt cx="307975" cy="295600"/>
          </a:xfrm>
        </p:grpSpPr>
        <p:sp>
          <p:nvSpPr>
            <p:cNvPr id="53" name="Google Shape;9059;p142">
              <a:extLst>
                <a:ext uri="{FF2B5EF4-FFF2-40B4-BE49-F238E27FC236}">
                  <a16:creationId xmlns:a16="http://schemas.microsoft.com/office/drawing/2014/main" id="{011AD59D-1F7F-4EC9-A292-994D83894343}"/>
                </a:ext>
              </a:extLst>
            </p:cNvPr>
            <p:cNvSpPr/>
            <p:nvPr/>
          </p:nvSpPr>
          <p:spPr>
            <a:xfrm>
              <a:off x="2281200" y="2353025"/>
              <a:ext cx="104000" cy="121300"/>
            </a:xfrm>
            <a:custGeom>
              <a:avLst/>
              <a:gdLst/>
              <a:ahLst/>
              <a:cxnLst/>
              <a:rect l="l" t="t" r="r" b="b"/>
              <a:pathLst>
                <a:path w="4160" h="4852" extrusionOk="0">
                  <a:moveTo>
                    <a:pt x="2080" y="662"/>
                  </a:moveTo>
                  <a:cubicBezTo>
                    <a:pt x="2490" y="662"/>
                    <a:pt x="2805" y="977"/>
                    <a:pt x="2805" y="1386"/>
                  </a:cubicBezTo>
                  <a:cubicBezTo>
                    <a:pt x="2805" y="1764"/>
                    <a:pt x="2490" y="2079"/>
                    <a:pt x="2080" y="2079"/>
                  </a:cubicBezTo>
                  <a:cubicBezTo>
                    <a:pt x="1702" y="2079"/>
                    <a:pt x="1387" y="1764"/>
                    <a:pt x="1387" y="1386"/>
                  </a:cubicBezTo>
                  <a:cubicBezTo>
                    <a:pt x="1387" y="977"/>
                    <a:pt x="1702" y="662"/>
                    <a:pt x="2080" y="662"/>
                  </a:cubicBezTo>
                  <a:close/>
                  <a:moveTo>
                    <a:pt x="2080" y="2773"/>
                  </a:moveTo>
                  <a:cubicBezTo>
                    <a:pt x="2836" y="2773"/>
                    <a:pt x="3466" y="3403"/>
                    <a:pt x="3466" y="4127"/>
                  </a:cubicBezTo>
                  <a:lnTo>
                    <a:pt x="662" y="4127"/>
                  </a:lnTo>
                  <a:cubicBezTo>
                    <a:pt x="662" y="3403"/>
                    <a:pt x="1293" y="2773"/>
                    <a:pt x="2080" y="2773"/>
                  </a:cubicBezTo>
                  <a:close/>
                  <a:moveTo>
                    <a:pt x="2112" y="0"/>
                  </a:moveTo>
                  <a:cubicBezTo>
                    <a:pt x="1387" y="0"/>
                    <a:pt x="757" y="630"/>
                    <a:pt x="757" y="1386"/>
                  </a:cubicBezTo>
                  <a:cubicBezTo>
                    <a:pt x="757" y="1733"/>
                    <a:pt x="915" y="2079"/>
                    <a:pt x="1135" y="2332"/>
                  </a:cubicBezTo>
                  <a:cubicBezTo>
                    <a:pt x="505" y="2678"/>
                    <a:pt x="64" y="3340"/>
                    <a:pt x="64" y="4127"/>
                  </a:cubicBezTo>
                  <a:lnTo>
                    <a:pt x="64" y="4505"/>
                  </a:lnTo>
                  <a:cubicBezTo>
                    <a:pt x="1" y="4694"/>
                    <a:pt x="158" y="4852"/>
                    <a:pt x="347" y="4852"/>
                  </a:cubicBezTo>
                  <a:lnTo>
                    <a:pt x="3813" y="4852"/>
                  </a:lnTo>
                  <a:cubicBezTo>
                    <a:pt x="4002" y="4852"/>
                    <a:pt x="4160" y="4694"/>
                    <a:pt x="4160" y="4505"/>
                  </a:cubicBezTo>
                  <a:lnTo>
                    <a:pt x="4160" y="4127"/>
                  </a:lnTo>
                  <a:cubicBezTo>
                    <a:pt x="4160" y="3340"/>
                    <a:pt x="3750" y="2678"/>
                    <a:pt x="3120" y="2332"/>
                  </a:cubicBezTo>
                  <a:cubicBezTo>
                    <a:pt x="3340" y="2079"/>
                    <a:pt x="3498" y="1733"/>
                    <a:pt x="3498" y="1386"/>
                  </a:cubicBezTo>
                  <a:cubicBezTo>
                    <a:pt x="3498" y="630"/>
                    <a:pt x="2868" y="0"/>
                    <a:pt x="211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Google Shape;9060;p142">
              <a:extLst>
                <a:ext uri="{FF2B5EF4-FFF2-40B4-BE49-F238E27FC236}">
                  <a16:creationId xmlns:a16="http://schemas.microsoft.com/office/drawing/2014/main" id="{381093EB-D622-4829-966D-A2544386DC24}"/>
                </a:ext>
              </a:extLst>
            </p:cNvPr>
            <p:cNvSpPr/>
            <p:nvPr/>
          </p:nvSpPr>
          <p:spPr>
            <a:xfrm>
              <a:off x="2140225" y="2318650"/>
              <a:ext cx="307975" cy="295600"/>
            </a:xfrm>
            <a:custGeom>
              <a:avLst/>
              <a:gdLst/>
              <a:ahLst/>
              <a:cxnLst/>
              <a:rect l="l" t="t" r="r" b="b"/>
              <a:pathLst>
                <a:path w="12319" h="11824" extrusionOk="0">
                  <a:moveTo>
                    <a:pt x="7712" y="682"/>
                  </a:moveTo>
                  <a:cubicBezTo>
                    <a:pt x="8607" y="682"/>
                    <a:pt x="9499" y="1029"/>
                    <a:pt x="10177" y="1690"/>
                  </a:cubicBezTo>
                  <a:cubicBezTo>
                    <a:pt x="11468" y="2982"/>
                    <a:pt x="11531" y="5187"/>
                    <a:pt x="10177" y="6573"/>
                  </a:cubicBezTo>
                  <a:cubicBezTo>
                    <a:pt x="9500" y="7266"/>
                    <a:pt x="8627" y="7590"/>
                    <a:pt x="7754" y="7590"/>
                  </a:cubicBezTo>
                  <a:cubicBezTo>
                    <a:pt x="6839" y="7590"/>
                    <a:pt x="5923" y="7234"/>
                    <a:pt x="5230" y="6573"/>
                  </a:cubicBezTo>
                  <a:cubicBezTo>
                    <a:pt x="3939" y="5282"/>
                    <a:pt x="3876" y="3045"/>
                    <a:pt x="5325" y="1659"/>
                  </a:cubicBezTo>
                  <a:cubicBezTo>
                    <a:pt x="6001" y="997"/>
                    <a:pt x="6858" y="682"/>
                    <a:pt x="7712" y="682"/>
                  </a:cubicBezTo>
                  <a:close/>
                  <a:moveTo>
                    <a:pt x="4128" y="6258"/>
                  </a:moveTo>
                  <a:cubicBezTo>
                    <a:pt x="4285" y="6573"/>
                    <a:pt x="4537" y="6857"/>
                    <a:pt x="4758" y="7078"/>
                  </a:cubicBezTo>
                  <a:cubicBezTo>
                    <a:pt x="5010" y="7330"/>
                    <a:pt x="5293" y="7550"/>
                    <a:pt x="5577" y="7708"/>
                  </a:cubicBezTo>
                  <a:lnTo>
                    <a:pt x="5136" y="8180"/>
                  </a:lnTo>
                  <a:cubicBezTo>
                    <a:pt x="5073" y="8243"/>
                    <a:pt x="4978" y="8275"/>
                    <a:pt x="4888" y="8275"/>
                  </a:cubicBezTo>
                  <a:cubicBezTo>
                    <a:pt x="4797" y="8275"/>
                    <a:pt x="4710" y="8243"/>
                    <a:pt x="4663" y="8180"/>
                  </a:cubicBezTo>
                  <a:lnTo>
                    <a:pt x="3655" y="7204"/>
                  </a:lnTo>
                  <a:cubicBezTo>
                    <a:pt x="3498" y="7078"/>
                    <a:pt x="3498" y="6857"/>
                    <a:pt x="3655" y="6731"/>
                  </a:cubicBezTo>
                  <a:lnTo>
                    <a:pt x="4128" y="6258"/>
                  </a:lnTo>
                  <a:close/>
                  <a:moveTo>
                    <a:pt x="3403" y="7960"/>
                  </a:moveTo>
                  <a:lnTo>
                    <a:pt x="3876" y="8432"/>
                  </a:lnTo>
                  <a:lnTo>
                    <a:pt x="3309" y="8968"/>
                  </a:lnTo>
                  <a:lnTo>
                    <a:pt x="2836" y="8495"/>
                  </a:lnTo>
                  <a:lnTo>
                    <a:pt x="3403" y="7960"/>
                  </a:lnTo>
                  <a:close/>
                  <a:moveTo>
                    <a:pt x="2363" y="8968"/>
                  </a:moveTo>
                  <a:lnTo>
                    <a:pt x="2836" y="9440"/>
                  </a:lnTo>
                  <a:lnTo>
                    <a:pt x="1292" y="10984"/>
                  </a:lnTo>
                  <a:cubicBezTo>
                    <a:pt x="1245" y="11047"/>
                    <a:pt x="1158" y="11079"/>
                    <a:pt x="1068" y="11079"/>
                  </a:cubicBezTo>
                  <a:cubicBezTo>
                    <a:pt x="977" y="11079"/>
                    <a:pt x="883" y="11047"/>
                    <a:pt x="820" y="10984"/>
                  </a:cubicBezTo>
                  <a:cubicBezTo>
                    <a:pt x="725" y="10858"/>
                    <a:pt x="725" y="10669"/>
                    <a:pt x="820" y="10512"/>
                  </a:cubicBezTo>
                  <a:lnTo>
                    <a:pt x="2363" y="8968"/>
                  </a:lnTo>
                  <a:close/>
                  <a:moveTo>
                    <a:pt x="7731" y="1"/>
                  </a:moveTo>
                  <a:cubicBezTo>
                    <a:pt x="6669" y="1"/>
                    <a:pt x="5604" y="403"/>
                    <a:pt x="4789" y="1218"/>
                  </a:cubicBezTo>
                  <a:cubicBezTo>
                    <a:pt x="3592" y="2446"/>
                    <a:pt x="3309" y="4179"/>
                    <a:pt x="3844" y="5628"/>
                  </a:cubicBezTo>
                  <a:lnTo>
                    <a:pt x="3182" y="6290"/>
                  </a:lnTo>
                  <a:cubicBezTo>
                    <a:pt x="2867" y="6605"/>
                    <a:pt x="2804" y="7078"/>
                    <a:pt x="2993" y="7487"/>
                  </a:cubicBezTo>
                  <a:lnTo>
                    <a:pt x="410" y="10071"/>
                  </a:lnTo>
                  <a:cubicBezTo>
                    <a:pt x="0" y="10480"/>
                    <a:pt x="0" y="11142"/>
                    <a:pt x="410" y="11520"/>
                  </a:cubicBezTo>
                  <a:cubicBezTo>
                    <a:pt x="580" y="11721"/>
                    <a:pt x="826" y="11823"/>
                    <a:pt x="1081" y="11823"/>
                  </a:cubicBezTo>
                  <a:cubicBezTo>
                    <a:pt x="1345" y="11823"/>
                    <a:pt x="1619" y="11713"/>
                    <a:pt x="1828" y="11488"/>
                  </a:cubicBezTo>
                  <a:lnTo>
                    <a:pt x="4411" y="8905"/>
                  </a:lnTo>
                  <a:cubicBezTo>
                    <a:pt x="4565" y="8976"/>
                    <a:pt x="4727" y="9011"/>
                    <a:pt x="4887" y="9011"/>
                  </a:cubicBezTo>
                  <a:cubicBezTo>
                    <a:pt x="5153" y="9011"/>
                    <a:pt x="5411" y="8913"/>
                    <a:pt x="5608" y="8716"/>
                  </a:cubicBezTo>
                  <a:lnTo>
                    <a:pt x="6270" y="8023"/>
                  </a:lnTo>
                  <a:cubicBezTo>
                    <a:pt x="6736" y="8205"/>
                    <a:pt x="7231" y="8296"/>
                    <a:pt x="7729" y="8296"/>
                  </a:cubicBezTo>
                  <a:cubicBezTo>
                    <a:pt x="8781" y="8296"/>
                    <a:pt x="9847" y="7890"/>
                    <a:pt x="10681" y="7078"/>
                  </a:cubicBezTo>
                  <a:cubicBezTo>
                    <a:pt x="12319" y="5439"/>
                    <a:pt x="12287" y="2793"/>
                    <a:pt x="10681" y="1218"/>
                  </a:cubicBezTo>
                  <a:cubicBezTo>
                    <a:pt x="9873" y="410"/>
                    <a:pt x="8804" y="1"/>
                    <a:pt x="773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55" name="Google Shape;386;p81">
            <a:extLst>
              <a:ext uri="{FF2B5EF4-FFF2-40B4-BE49-F238E27FC236}">
                <a16:creationId xmlns:a16="http://schemas.microsoft.com/office/drawing/2014/main" id="{4AF0E2CB-7C47-42EF-AEBD-5B17CF1B2174}"/>
              </a:ext>
            </a:extLst>
          </p:cNvPr>
          <p:cNvSpPr txBox="1">
            <a:spLocks/>
          </p:cNvSpPr>
          <p:nvPr/>
        </p:nvSpPr>
        <p:spPr>
          <a:xfrm>
            <a:off x="6584285" y="3046699"/>
            <a:ext cx="2349049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Thorough behavioural data analysis required to assess debt management loan application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9" name="Google Shape;341;p77">
            <a:extLst>
              <a:ext uri="{FF2B5EF4-FFF2-40B4-BE49-F238E27FC236}">
                <a16:creationId xmlns:a16="http://schemas.microsoft.com/office/drawing/2014/main" id="{D79AB517-3998-4EED-A19C-35FF8FEB1654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9F2030A1-5DB8-4780-BB16-1303786F690C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F56CF3C-C1A6-4CFA-AF1D-12D522F39271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3" name="Graphic 32" descr="Video camera with solid fill">
              <a:extLst>
                <a:ext uri="{FF2B5EF4-FFF2-40B4-BE49-F238E27FC236}">
                  <a16:creationId xmlns:a16="http://schemas.microsoft.com/office/drawing/2014/main" id="{C198EB9B-A9CE-4FC5-B035-2CFBFDE01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64547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63C120A-1722-4490-B8CB-88CDA11C90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824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>
            <a:extLst>
              <a:ext uri="{FF2B5EF4-FFF2-40B4-BE49-F238E27FC236}">
                <a16:creationId xmlns:a16="http://schemas.microsoft.com/office/drawing/2014/main" id="{94385E6D-80B2-4BF0-9364-858F7BFD94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642" y="586761"/>
            <a:ext cx="2482425" cy="1292631"/>
          </a:xfrm>
        </p:spPr>
        <p:txBody>
          <a:bodyPr vert="horz" wrap="square" lIns="91425" tIns="91425" rIns="91425" bIns="91425">
            <a:spAutoFit/>
          </a:bodyPr>
          <a:lstStyle/>
          <a:p>
            <a:r>
              <a:rPr lang="hu-HU" sz="2400" dirty="0" err="1"/>
              <a:t>Our</a:t>
            </a:r>
            <a:r>
              <a:rPr lang="hu-HU" sz="2400" dirty="0"/>
              <a:t> </a:t>
            </a:r>
            <a:r>
              <a:rPr lang="hu-HU" sz="2400" dirty="0" err="1"/>
              <a:t>understanding</a:t>
            </a:r>
            <a:r>
              <a:rPr lang="hu-HU" sz="2400" dirty="0"/>
              <a:t> of </a:t>
            </a:r>
            <a:r>
              <a:rPr lang="hu-HU" sz="2400" dirty="0" err="1"/>
              <a:t>Universal</a:t>
            </a:r>
            <a:r>
              <a:rPr lang="hu-HU" sz="2400" dirty="0"/>
              <a:t> Plus</a:t>
            </a:r>
            <a:endParaRPr lang="en-US" sz="24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52607BB-6127-4161-B962-7266EF7EAC18}"/>
              </a:ext>
            </a:extLst>
          </p:cNvPr>
          <p:cNvSpPr txBox="1"/>
          <p:nvPr/>
        </p:nvSpPr>
        <p:spPr>
          <a:xfrm>
            <a:off x="1995714" y="4804875"/>
            <a:ext cx="48695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t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ual processing is assumed based on available information on Universal 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us</a:t>
            </a:r>
            <a:endParaRPr lang="en-US" sz="9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B2F9B68-2211-4594-A0F1-AC56DE118FEB}"/>
              </a:ext>
            </a:extLst>
          </p:cNvPr>
          <p:cNvSpPr txBox="1"/>
          <p:nvPr/>
        </p:nvSpPr>
        <p:spPr>
          <a:xfrm>
            <a:off x="3445386" y="958217"/>
            <a:ext cx="437781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versal </a:t>
            </a:r>
            <a:r>
              <a:rPr lang="hu-HU" b="1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u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’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current loan processing system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8760EF1-2118-483F-BEEB-667DB0F2F515}"/>
              </a:ext>
            </a:extLst>
          </p:cNvPr>
          <p:cNvGrpSpPr/>
          <p:nvPr/>
        </p:nvGrpSpPr>
        <p:grpSpPr>
          <a:xfrm>
            <a:off x="3445386" y="1471434"/>
            <a:ext cx="4690102" cy="2441928"/>
            <a:chOff x="3445386" y="1667373"/>
            <a:chExt cx="4690102" cy="2441928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9C22401-F582-4041-ADCE-192404DCF279}"/>
                </a:ext>
              </a:extLst>
            </p:cNvPr>
            <p:cNvSpPr/>
            <p:nvPr/>
          </p:nvSpPr>
          <p:spPr>
            <a:xfrm>
              <a:off x="5832988" y="1667373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redit officer</a:t>
              </a: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A2A0A184-F39A-48F7-A233-125619D748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95215" y="1820933"/>
              <a:ext cx="1020396" cy="0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89769B87-3AE4-4FDF-91DC-C16372EEA717}"/>
                </a:ext>
              </a:extLst>
            </p:cNvPr>
            <p:cNvCxnSpPr>
              <a:cxnSpLocks/>
            </p:cNvCxnSpPr>
            <p:nvPr/>
          </p:nvCxnSpPr>
          <p:spPr>
            <a:xfrm>
              <a:off x="4795215" y="2046137"/>
              <a:ext cx="1045029" cy="0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5CE79CC-B9C8-41E5-946C-E0ED5ED9C891}"/>
                </a:ext>
              </a:extLst>
            </p:cNvPr>
            <p:cNvSpPr/>
            <p:nvPr/>
          </p:nvSpPr>
          <p:spPr>
            <a:xfrm>
              <a:off x="5832989" y="2627453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redit processor</a:t>
              </a: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19B85631-DCF9-48A5-A678-F7F7711DB1AE}"/>
                </a:ext>
              </a:extLst>
            </p:cNvPr>
            <p:cNvCxnSpPr>
              <a:cxnSpLocks/>
              <a:stCxn id="46" idx="2"/>
              <a:endCxn id="54" idx="0"/>
            </p:cNvCxnSpPr>
            <p:nvPr/>
          </p:nvCxnSpPr>
          <p:spPr>
            <a:xfrm>
              <a:off x="6507903" y="2139088"/>
              <a:ext cx="1" cy="488365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E84F56B9-4884-459E-A522-18DC993F5D86}"/>
                </a:ext>
              </a:extLst>
            </p:cNvPr>
            <p:cNvSpPr/>
            <p:nvPr/>
          </p:nvSpPr>
          <p:spPr>
            <a:xfrm>
              <a:off x="4880318" y="3637586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ccept loan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F8C0308-4762-425F-AECC-C9B92D526A5A}"/>
                </a:ext>
              </a:extLst>
            </p:cNvPr>
            <p:cNvSpPr/>
            <p:nvPr/>
          </p:nvSpPr>
          <p:spPr>
            <a:xfrm>
              <a:off x="6785659" y="3637586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Reject loan</a:t>
              </a: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AC054BFA-27A7-43D9-B89B-01FCE62B55DD}"/>
                </a:ext>
              </a:extLst>
            </p:cNvPr>
            <p:cNvCxnSpPr>
              <a:cxnSpLocks/>
              <a:stCxn id="54" idx="2"/>
            </p:cNvCxnSpPr>
            <p:nvPr/>
          </p:nvCxnSpPr>
          <p:spPr>
            <a:xfrm flipH="1">
              <a:off x="6230147" y="3099168"/>
              <a:ext cx="277757" cy="488365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C22621A4-04C2-42E2-8699-1A8D8DE1111E}"/>
                </a:ext>
              </a:extLst>
            </p:cNvPr>
            <p:cNvCxnSpPr>
              <a:cxnSpLocks/>
              <a:stCxn id="54" idx="2"/>
            </p:cNvCxnSpPr>
            <p:nvPr/>
          </p:nvCxnSpPr>
          <p:spPr>
            <a:xfrm>
              <a:off x="6507904" y="3099168"/>
              <a:ext cx="277755" cy="488365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FE8A4202-A497-4BE0-8E67-26A338686273}"/>
                </a:ext>
              </a:extLst>
            </p:cNvPr>
            <p:cNvSpPr/>
            <p:nvPr/>
          </p:nvSpPr>
          <p:spPr>
            <a:xfrm>
              <a:off x="3445386" y="1685808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lient</a:t>
              </a:r>
            </a:p>
          </p:txBody>
        </p:sp>
      </p:grpSp>
      <p:pic>
        <p:nvPicPr>
          <p:cNvPr id="17" name="Google Shape;341;p77">
            <a:extLst>
              <a:ext uri="{FF2B5EF4-FFF2-40B4-BE49-F238E27FC236}">
                <a16:creationId xmlns:a16="http://schemas.microsoft.com/office/drawing/2014/main" id="{EBB0DE40-2762-400F-B614-E13AE6AABCC3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C7BD56C2-7028-4AF2-871C-35ACE10811CB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0E49472-CF4B-40DD-827F-C60C0A39C946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Graphic 21" descr="Video camera with solid fill">
              <a:extLst>
                <a:ext uri="{FF2B5EF4-FFF2-40B4-BE49-F238E27FC236}">
                  <a16:creationId xmlns:a16="http://schemas.microsoft.com/office/drawing/2014/main" id="{C1E0E0E2-76CF-497B-A9A5-FFC61F2BB4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2354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12C569-7614-44C0-A5E9-280F51B95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5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12C569-7614-44C0-A5E9-280F51B95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7" name="Google Shape;367;p79"/>
          <p:cNvSpPr txBox="1">
            <a:spLocks noGrp="1"/>
          </p:cNvSpPr>
          <p:nvPr>
            <p:ph type="ctrTitle"/>
          </p:nvPr>
        </p:nvSpPr>
        <p:spPr>
          <a:xfrm flipH="1">
            <a:off x="2029192" y="1970175"/>
            <a:ext cx="5085615" cy="8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hu-HU" sz="3000" dirty="0"/>
              <a:t>2. OUR OFFER</a:t>
            </a:r>
            <a:endParaRPr sz="3000" dirty="0"/>
          </a:p>
        </p:txBody>
      </p:sp>
      <p:sp>
        <p:nvSpPr>
          <p:cNvPr id="369" name="Google Shape;369;p79"/>
          <p:cNvSpPr/>
          <p:nvPr/>
        </p:nvSpPr>
        <p:spPr>
          <a:xfrm>
            <a:off x="-4393055" y="-485625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Google Shape;341;p77">
            <a:extLst>
              <a:ext uri="{FF2B5EF4-FFF2-40B4-BE49-F238E27FC236}">
                <a16:creationId xmlns:a16="http://schemas.microsoft.com/office/drawing/2014/main" id="{DCFA8B86-0B6D-464C-83B8-8B78550E7DD1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-373161"/>
            <a:ext cx="1421106" cy="15087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92EC5EFB-0948-452D-BAC7-A5ADD511A108}"/>
              </a:ext>
            </a:extLst>
          </p:cNvPr>
          <p:cNvGrpSpPr/>
          <p:nvPr/>
        </p:nvGrpSpPr>
        <p:grpSpPr>
          <a:xfrm>
            <a:off x="7489373" y="3989726"/>
            <a:ext cx="1654620" cy="1153774"/>
            <a:chOff x="7489373" y="3989726"/>
            <a:chExt cx="1654620" cy="115377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C154A88-09B8-45CB-8426-9AD7D30D7FA6}"/>
                </a:ext>
              </a:extLst>
            </p:cNvPr>
            <p:cNvSpPr/>
            <p:nvPr/>
          </p:nvSpPr>
          <p:spPr>
            <a:xfrm>
              <a:off x="7489373" y="3989726"/>
              <a:ext cx="1654620" cy="1153774"/>
            </a:xfrm>
            <a:prstGeom prst="rect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dk1"/>
                  </a:solidFill>
                </a14:hiddenFill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Graphic 9" descr="Video camera with solid fill">
              <a:extLst>
                <a:ext uri="{FF2B5EF4-FFF2-40B4-BE49-F238E27FC236}">
                  <a16:creationId xmlns:a16="http://schemas.microsoft.com/office/drawing/2014/main" id="{578ACFF4-29F0-432B-82D0-F397DE111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9483" y="4109412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6155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26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2.36609999999999986997E+00&quot;&gt;&lt;m_msothmcolidx val=&quot;0&quot;/&gt;&lt;m_rgb r=&quot;7F&quot; g=&quot;7F&quot; b=&quot;7F&quot;/&gt;&lt;/elem&gt;&lt;elem m_fUsage=&quot;2.31949000000000005173E+00&quot;&gt;&lt;m_msothmcolidx val=&quot;0&quot;/&gt;&lt;m_rgb r=&quot;26&quot; g=&quot;26&quot; b=&quot;26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16gO6glIb0HyLQAdkNU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7sBz3iQ_zo2vF0LT7S2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a5RJehscI1JxMSUgPMX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fg0lEePf_Koj3p18Pvl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9zf.untT8Q.9PKs76G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nj64uuxx9br7N0VNMVW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VdeuHnHbuUsHVpMvqfC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iLHicebPs_yuQ0No2mB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Pj77XYBmFr4ztJlgzIX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kJuZnbAl8qrEz2o3vl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DHfnVpbpD94TnYwL3qJ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r6IaJTSdJ0TpFMo634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i5dG1xHXSSqW8xiPUIc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yCLMAxGKvFX_oCT17Ld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yj6.JGvyMWr0ykCcF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eWHtA771zCIT4wE6Cp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MeaB27Ms9vHmeBtpch.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k.ajhlB4WeV.uTfJIXM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33THBlLliCikP.Ebz8N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yPMay5iD5_4dBdkwUY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fVWmkZkRXLjNMbxa9y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b7_v4zZMa82evg_jdt6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biTEVwvlNoXTFqM1iH_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9N0Q5UksXN7WDmc36B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1cXouzv0GRMLesKJ9s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jywVq5Onf6KVrizZcWs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tF5LmxEk6t1sIBM1no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kLMn.kBa35IAxqUohE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VRQhPWJPbRTZjZfb.r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IJMSooPnOrEnXTl5t1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L63CGbDM9c6M8aquqwm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cE2nEl8OycC3bTL3pP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wt2cncUNZARSPQXqiv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iWQoUsJ1hRuyvhxwrl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9IRGwnJAiDlE_Wll8v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Eahwd5mI5gLrbfkl1se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7GxG1dZFgK7LlVEjixr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HGK_UfPUkA6Q83L5e7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JEq4J7aigjGf8pOvMm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NtD2vTzk_GNgN.3Om1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CurtRpWY89bHsbV6UE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LboJW_N_7vEllf9RiY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bbIgezrsHIMAI4qKy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_J2UyLUr16ZxoLvSj4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6HPtlfYYgjFtu4ex.9w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QUF.C1ItFuMwr7FxQN4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TF2wBFVy92eDNtXhivT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VmcxFwczkSpR47fv8h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4LcuL6HiMVmmhQyxeh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PgWuI66muHQH_pqHol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y.DNF1h.eIpEzP2f_xq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RblYyFBRo34SyEgCEC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4OdGxJrDcWoMYQB6qU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TwQGtLgSriJfqMxBNb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dVxnWlVeC3JQ.pmUNm.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WATr1TKIf5Hqbrd6o3w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h414JdpF49MAJlUowrO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Qu6ehOU93gDsVHDeqVP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mXwgC1ZaOg6zT09vbh0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xH5LA8vQNZQLsSKfcS_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2eDP7m3HE7goOX8HG9r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5HM0x15CZQjU.Ds_yo9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KN1apFJFTtV4anQksh8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WzfU6rgHhXDYGft5Qb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bnxYC.9DuwQzfvmeALz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Cenz.8Mjn8uMuPsFKAI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ITwlWOMJ56flIrPkCTy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musEmVv.eYGw7aqo_Wt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ibXkpzhxfY_r0yb2Q4K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jLd71wqoBSQqZdH4CN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OVyhbQ78qGUjeaGwFgO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I4H3vGMWLWctE7SSYtz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1a5ru15TCdskfQoxMF_Q"/>
</p:tagLst>
</file>

<file path=ppt/theme/theme1.xml><?xml version="1.0" encoding="utf-8"?>
<a:theme xmlns:a="http://schemas.openxmlformats.org/drawingml/2006/main" name="Marketing Newsletter">
  <a:themeElements>
    <a:clrScheme name="Simple Light">
      <a:dk1>
        <a:srgbClr val="191919"/>
      </a:dk1>
      <a:lt1>
        <a:srgbClr val="F3F3F3"/>
      </a:lt1>
      <a:dk2>
        <a:srgbClr val="D9D9D9"/>
      </a:dk2>
      <a:lt2>
        <a:srgbClr val="434343"/>
      </a:lt2>
      <a:accent1>
        <a:srgbClr val="097A80"/>
      </a:accent1>
      <a:accent2>
        <a:srgbClr val="B3B896"/>
      </a:accent2>
      <a:accent3>
        <a:srgbClr val="F1C34E"/>
      </a:accent3>
      <a:accent4>
        <a:srgbClr val="E06666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7</TotalTime>
  <Words>861</Words>
  <Application>Microsoft Office PowerPoint</Application>
  <PresentationFormat>On-screen Show (16:9)</PresentationFormat>
  <Paragraphs>189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Fira Sans Extra Condensed Medium</vt:lpstr>
      <vt:lpstr>Pontano Sans</vt:lpstr>
      <vt:lpstr>Roboto Slab Light</vt:lpstr>
      <vt:lpstr>Arial</vt:lpstr>
      <vt:lpstr>Assistant Light</vt:lpstr>
      <vt:lpstr>Nunito Sans</vt:lpstr>
      <vt:lpstr>Nunito Sans ExtraBold</vt:lpstr>
      <vt:lpstr>Marketing Newsletter</vt:lpstr>
      <vt:lpstr>Simple Light</vt:lpstr>
      <vt:lpstr>Simple Light</vt:lpstr>
      <vt:lpstr>think-cell Slide</vt:lpstr>
      <vt:lpstr>Universal Plus  Credit Risk Management  System Proposal </vt:lpstr>
      <vt:lpstr>AGENDA</vt:lpstr>
      <vt:lpstr>1. MARKET OVERVIEW</vt:lpstr>
      <vt:lpstr>PowerPoint Presentation</vt:lpstr>
      <vt:lpstr>PowerPoint Presentation</vt:lpstr>
      <vt:lpstr>US Banks’ Loan Loss Provision in last three quarters ($M)</vt:lpstr>
      <vt:lpstr>PowerPoint Presentation</vt:lpstr>
      <vt:lpstr>Our understanding of Universal Plus</vt:lpstr>
      <vt:lpstr>2. OUR OFFER</vt:lpstr>
      <vt:lpstr>PowerPoint Presentation</vt:lpstr>
      <vt:lpstr>PowerPoint Presentation</vt:lpstr>
      <vt:lpstr>PowerPoint Presentation</vt:lpstr>
      <vt:lpstr>3. DELIVERABLES &amp; WHY US?</vt:lpstr>
      <vt:lpstr>PowerPoint Presentation</vt:lpstr>
      <vt:lpstr>WHY US? </vt:lpstr>
      <vt:lpstr>FIVE SIGNETS CONSULTING </vt:lpstr>
      <vt:lpstr>CREDI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dit Risk Management   Preventing Loan Default</dc:title>
  <dc:creator>Zozi</dc:creator>
  <cp:lastModifiedBy>ÁLDOTT, ZOLTÁN (PGT)</cp:lastModifiedBy>
  <cp:revision>55</cp:revision>
  <dcterms:modified xsi:type="dcterms:W3CDTF">2021-12-07T14:06:26Z</dcterms:modified>
</cp:coreProperties>
</file>